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168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F7F7F"/>
    <a:srgbClr val="EF224B"/>
    <a:srgbClr val="7E0080"/>
    <a:srgbClr val="DF6FA0"/>
    <a:srgbClr val="9B51B4"/>
    <a:srgbClr val="D7B9E1"/>
    <a:srgbClr val="F2F2F2"/>
    <a:srgbClr val="2B4871"/>
    <a:srgbClr val="05BADD"/>
    <a:srgbClr val="FFB40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9969" autoAdjust="0"/>
    <p:restoredTop sz="94558"/>
  </p:normalViewPr>
  <p:slideViewPr>
    <p:cSldViewPr snapToGrid="0">
      <p:cViewPr varScale="1">
        <p:scale>
          <a:sx n="104" d="100"/>
          <a:sy n="104" d="100"/>
        </p:scale>
        <p:origin x="1158" y="114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 varScale="1">
      <p:scale>
        <a:sx n="1" d="1"/>
        <a:sy n="1" d="1"/>
      </p:scale>
      <p:origin x="0" y="-22368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5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5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57D2F44-BC3F-D8BD-359D-6F796B628E65}"/>
              </a:ext>
            </a:extLst>
          </p:cNvPr>
          <p:cNvSpPr/>
          <p:nvPr userDrawn="1"/>
        </p:nvSpPr>
        <p:spPr>
          <a:xfrm flipH="1">
            <a:off x="0" y="6757416"/>
            <a:ext cx="12161520" cy="100584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20000"/>
                  <a:lumOff val="80000"/>
                </a:schemeClr>
              </a:gs>
              <a:gs pos="100000">
                <a:schemeClr val="accent2">
                  <a:lumMod val="20000"/>
                  <a:lumOff val="80000"/>
                  <a:alpha val="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: Top Corners Rounded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11325812" y="6505575"/>
            <a:ext cx="528138" cy="352425"/>
          </a:xfrm>
          <a:prstGeom prst="round2Same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57824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bg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Rectangle: Top Corners Rounded 5">
            <a:extLst>
              <a:ext uri="{FF2B5EF4-FFF2-40B4-BE49-F238E27FC236}">
                <a16:creationId xmlns:a16="http://schemas.microsoft.com/office/drawing/2014/main" id="{F770768B-E889-E357-3F75-B2F864830D7E}"/>
              </a:ext>
            </a:extLst>
          </p:cNvPr>
          <p:cNvSpPr/>
          <p:nvPr userDrawn="1"/>
        </p:nvSpPr>
        <p:spPr>
          <a:xfrm rot="5400000">
            <a:off x="-252936" y="360262"/>
            <a:ext cx="734470" cy="228600"/>
          </a:xfrm>
          <a:prstGeom prst="round2SameRect">
            <a:avLst>
              <a:gd name="adj1" fmla="val 22222"/>
              <a:gd name="adj2" fmla="val 0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107327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3" Type="http://schemas.openxmlformats.org/officeDocument/2006/relationships/tags" Target="../tags/tag6.xml"/><Relationship Id="rId7" Type="http://schemas.openxmlformats.org/officeDocument/2006/relationships/slideLayout" Target="../slideLayouts/slideLayout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tags" Target="../tags/tag9.xml"/><Relationship Id="rId5" Type="http://schemas.openxmlformats.org/officeDocument/2006/relationships/tags" Target="../tags/tag8.xml"/><Relationship Id="rId4" Type="http://schemas.openxmlformats.org/officeDocument/2006/relationships/tags" Target="../tags/tag7.xml"/><Relationship Id="rId9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EAF2BE1-58C3-E83E-6C9E-78E48CFB661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CC2F5F28-42D8-3567-A4EF-93DFB0648CD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25" imgH="426" progId="TCLayout.ActiveDocument.1">
                  <p:embed/>
                </p:oleObj>
              </mc:Choice>
              <mc:Fallback>
                <p:oleObj name="think-cell Slide" r:id="rId8" imgW="425" imgH="42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C2F5F28-42D8-3567-A4EF-93DFB0648C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9940072-73EA-5C11-B8DE-3B7E337912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330FD7A-C6E5-5D53-AEDB-3A671F0614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5 Factors</a:t>
            </a:r>
          </a:p>
        </p:txBody>
      </p:sp>
      <p:sp>
        <p:nvSpPr>
          <p:cNvPr id="2" name="Oval 66">
            <a:extLst>
              <a:ext uri="{FF2B5EF4-FFF2-40B4-BE49-F238E27FC236}">
                <a16:creationId xmlns:a16="http://schemas.microsoft.com/office/drawing/2014/main" id="{A0D7AFB6-C829-6957-715D-CC2AC803E604}"/>
              </a:ext>
            </a:extLst>
          </p:cNvPr>
          <p:cNvSpPr>
            <a:spLocks noChangeArrowheads="1"/>
          </p:cNvSpPr>
          <p:nvPr/>
        </p:nvSpPr>
        <p:spPr bwMode="auto">
          <a:xfrm flipH="1" flipV="1">
            <a:off x="4378346" y="2002765"/>
            <a:ext cx="3487579" cy="3484745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innerShdw blurRad="114300">
              <a:prstClr val="black"/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12ED69C5-05F5-EC77-68D8-B368EDF5787D}"/>
              </a:ext>
            </a:extLst>
          </p:cNvPr>
          <p:cNvSpPr txBox="1">
            <a:spLocks/>
          </p:cNvSpPr>
          <p:nvPr/>
        </p:nvSpPr>
        <p:spPr>
          <a:xfrm flipH="1">
            <a:off x="5211753" y="3848407"/>
            <a:ext cx="1877768" cy="424732"/>
          </a:xfrm>
          <a:prstGeom prst="rect">
            <a:avLst/>
          </a:prstGeom>
        </p:spPr>
        <p:txBody>
          <a:bodyPr anchor="ctr">
            <a:spAutoFit/>
          </a:bodyPr>
          <a:lstStyle>
            <a:lvl1pPr algn="l" defTabSz="182843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defTabSz="457152">
              <a:buClr>
                <a:srgbClr val="0070C0"/>
              </a:buClr>
              <a:defRPr/>
            </a:pPr>
            <a:r>
              <a:rPr lang="en-IN" sz="2000" b="1" dirty="0">
                <a:latin typeface="Open Sans ExtraBold" charset="0"/>
                <a:ea typeface="Open Sans ExtraBold" charset="0"/>
                <a:cs typeface="Open Sans ExtraBold" charset="0"/>
              </a:rPr>
              <a:t>INSERT</a:t>
            </a:r>
            <a:r>
              <a:rPr lang="en-IN" sz="2000" b="1" dirty="0"/>
              <a:t> </a:t>
            </a:r>
            <a:r>
              <a:rPr lang="en-IN" sz="2400" dirty="0">
                <a:latin typeface="+mn-lt"/>
              </a:rPr>
              <a:t>TITLE</a:t>
            </a:r>
          </a:p>
        </p:txBody>
      </p:sp>
      <p:sp>
        <p:nvSpPr>
          <p:cNvPr id="7" name="Freeform 23">
            <a:extLst>
              <a:ext uri="{FF2B5EF4-FFF2-40B4-BE49-F238E27FC236}">
                <a16:creationId xmlns:a16="http://schemas.microsoft.com/office/drawing/2014/main" id="{92A88CA5-B336-B1A3-1CB2-7CF8463ECBF4}"/>
              </a:ext>
            </a:extLst>
          </p:cNvPr>
          <p:cNvSpPr>
            <a:spLocks noEditPoints="1"/>
          </p:cNvSpPr>
          <p:nvPr/>
        </p:nvSpPr>
        <p:spPr bwMode="auto">
          <a:xfrm>
            <a:off x="5841910" y="3012156"/>
            <a:ext cx="697773" cy="617945"/>
          </a:xfrm>
          <a:custGeom>
            <a:avLst/>
            <a:gdLst>
              <a:gd name="T0" fmla="*/ 232 w 256"/>
              <a:gd name="T1" fmla="*/ 84 h 227"/>
              <a:gd name="T2" fmla="*/ 172 w 256"/>
              <a:gd name="T3" fmla="*/ 44 h 227"/>
              <a:gd name="T4" fmla="*/ 120 w 256"/>
              <a:gd name="T5" fmla="*/ 48 h 227"/>
              <a:gd name="T6" fmla="*/ 64 w 256"/>
              <a:gd name="T7" fmla="*/ 107 h 227"/>
              <a:gd name="T8" fmla="*/ 0 w 256"/>
              <a:gd name="T9" fmla="*/ 131 h 227"/>
              <a:gd name="T10" fmla="*/ 32 w 256"/>
              <a:gd name="T11" fmla="*/ 227 h 227"/>
              <a:gd name="T12" fmla="*/ 87 w 256"/>
              <a:gd name="T13" fmla="*/ 212 h 227"/>
              <a:gd name="T14" fmla="*/ 103 w 256"/>
              <a:gd name="T15" fmla="*/ 219 h 227"/>
              <a:gd name="T16" fmla="*/ 232 w 256"/>
              <a:gd name="T17" fmla="*/ 197 h 227"/>
              <a:gd name="T18" fmla="*/ 240 w 256"/>
              <a:gd name="T19" fmla="*/ 169 h 227"/>
              <a:gd name="T20" fmla="*/ 248 w 256"/>
              <a:gd name="T21" fmla="*/ 140 h 227"/>
              <a:gd name="T22" fmla="*/ 256 w 256"/>
              <a:gd name="T23" fmla="*/ 108 h 227"/>
              <a:gd name="T24" fmla="*/ 32 w 256"/>
              <a:gd name="T25" fmla="*/ 211 h 227"/>
              <a:gd name="T26" fmla="*/ 16 w 256"/>
              <a:gd name="T27" fmla="*/ 131 h 227"/>
              <a:gd name="T28" fmla="*/ 64 w 256"/>
              <a:gd name="T29" fmla="*/ 123 h 227"/>
              <a:gd name="T30" fmla="*/ 72 w 256"/>
              <a:gd name="T31" fmla="*/ 198 h 227"/>
              <a:gd name="T32" fmla="*/ 72 w 256"/>
              <a:gd name="T33" fmla="*/ 203 h 227"/>
              <a:gd name="T34" fmla="*/ 210 w 256"/>
              <a:gd name="T35" fmla="*/ 203 h 227"/>
              <a:gd name="T36" fmla="*/ 88 w 256"/>
              <a:gd name="T37" fmla="*/ 194 h 227"/>
              <a:gd name="T38" fmla="*/ 86 w 256"/>
              <a:gd name="T39" fmla="*/ 121 h 227"/>
              <a:gd name="T40" fmla="*/ 140 w 256"/>
              <a:gd name="T41" fmla="*/ 16 h 227"/>
              <a:gd name="T42" fmla="*/ 152 w 256"/>
              <a:gd name="T43" fmla="*/ 90 h 227"/>
              <a:gd name="T44" fmla="*/ 160 w 256"/>
              <a:gd name="T45" fmla="*/ 100 h 227"/>
              <a:gd name="T46" fmla="*/ 240 w 256"/>
              <a:gd name="T47" fmla="*/ 108 h 227"/>
              <a:gd name="T48" fmla="*/ 223 w 256"/>
              <a:gd name="T49" fmla="*/ 116 h 227"/>
              <a:gd name="T50" fmla="*/ 223 w 256"/>
              <a:gd name="T51" fmla="*/ 132 h 227"/>
              <a:gd name="T52" fmla="*/ 224 w 256"/>
              <a:gd name="T53" fmla="*/ 132 h 227"/>
              <a:gd name="T54" fmla="*/ 224 w 256"/>
              <a:gd name="T55" fmla="*/ 148 h 227"/>
              <a:gd name="T56" fmla="*/ 218 w 256"/>
              <a:gd name="T57" fmla="*/ 147 h 227"/>
              <a:gd name="T58" fmla="*/ 215 w 256"/>
              <a:gd name="T59" fmla="*/ 148 h 227"/>
              <a:gd name="T60" fmla="*/ 215 w 256"/>
              <a:gd name="T61" fmla="*/ 164 h 227"/>
              <a:gd name="T62" fmla="*/ 224 w 256"/>
              <a:gd name="T63" fmla="*/ 169 h 227"/>
              <a:gd name="T64" fmla="*/ 210 w 256"/>
              <a:gd name="T65" fmla="*/ 175 h 227"/>
              <a:gd name="T66" fmla="*/ 210 w 256"/>
              <a:gd name="T67" fmla="*/ 175 h 227"/>
              <a:gd name="T68" fmla="*/ 210 w 256"/>
              <a:gd name="T69" fmla="*/ 191 h 227"/>
              <a:gd name="T70" fmla="*/ 210 w 256"/>
              <a:gd name="T71" fmla="*/ 203 h 2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256" h="227">
                <a:moveTo>
                  <a:pt x="256" y="108"/>
                </a:moveTo>
                <a:cubicBezTo>
                  <a:pt x="256" y="94"/>
                  <a:pt x="245" y="84"/>
                  <a:pt x="232" y="84"/>
                </a:cubicBezTo>
                <a:cubicBezTo>
                  <a:pt x="169" y="84"/>
                  <a:pt x="169" y="84"/>
                  <a:pt x="169" y="84"/>
                </a:cubicBezTo>
                <a:cubicBezTo>
                  <a:pt x="171" y="74"/>
                  <a:pt x="172" y="59"/>
                  <a:pt x="172" y="44"/>
                </a:cubicBezTo>
                <a:cubicBezTo>
                  <a:pt x="172" y="13"/>
                  <a:pt x="156" y="0"/>
                  <a:pt x="140" y="0"/>
                </a:cubicBezTo>
                <a:cubicBezTo>
                  <a:pt x="120" y="0"/>
                  <a:pt x="120" y="21"/>
                  <a:pt x="120" y="48"/>
                </a:cubicBezTo>
                <a:cubicBezTo>
                  <a:pt x="120" y="67"/>
                  <a:pt x="90" y="97"/>
                  <a:pt x="75" y="110"/>
                </a:cubicBezTo>
                <a:cubicBezTo>
                  <a:pt x="71" y="108"/>
                  <a:pt x="68" y="107"/>
                  <a:pt x="64" y="107"/>
                </a:cubicBezTo>
                <a:cubicBezTo>
                  <a:pt x="24" y="107"/>
                  <a:pt x="24" y="107"/>
                  <a:pt x="24" y="107"/>
                </a:cubicBezTo>
                <a:cubicBezTo>
                  <a:pt x="11" y="107"/>
                  <a:pt x="0" y="118"/>
                  <a:pt x="0" y="131"/>
                </a:cubicBezTo>
                <a:cubicBezTo>
                  <a:pt x="8" y="203"/>
                  <a:pt x="8" y="203"/>
                  <a:pt x="8" y="203"/>
                </a:cubicBezTo>
                <a:cubicBezTo>
                  <a:pt x="10" y="216"/>
                  <a:pt x="19" y="227"/>
                  <a:pt x="32" y="227"/>
                </a:cubicBezTo>
                <a:cubicBezTo>
                  <a:pt x="64" y="227"/>
                  <a:pt x="64" y="227"/>
                  <a:pt x="64" y="227"/>
                </a:cubicBezTo>
                <a:cubicBezTo>
                  <a:pt x="74" y="227"/>
                  <a:pt x="83" y="221"/>
                  <a:pt x="87" y="212"/>
                </a:cubicBezTo>
                <a:cubicBezTo>
                  <a:pt x="100" y="219"/>
                  <a:pt x="100" y="219"/>
                  <a:pt x="100" y="219"/>
                </a:cubicBezTo>
                <a:cubicBezTo>
                  <a:pt x="101" y="219"/>
                  <a:pt x="102" y="219"/>
                  <a:pt x="103" y="219"/>
                </a:cubicBezTo>
                <a:cubicBezTo>
                  <a:pt x="210" y="219"/>
                  <a:pt x="210" y="219"/>
                  <a:pt x="210" y="219"/>
                </a:cubicBezTo>
                <a:cubicBezTo>
                  <a:pt x="222" y="219"/>
                  <a:pt x="232" y="210"/>
                  <a:pt x="232" y="197"/>
                </a:cubicBezTo>
                <a:cubicBezTo>
                  <a:pt x="232" y="194"/>
                  <a:pt x="231" y="191"/>
                  <a:pt x="230" y="188"/>
                </a:cubicBezTo>
                <a:cubicBezTo>
                  <a:pt x="236" y="184"/>
                  <a:pt x="240" y="177"/>
                  <a:pt x="240" y="169"/>
                </a:cubicBezTo>
                <a:cubicBezTo>
                  <a:pt x="240" y="166"/>
                  <a:pt x="239" y="162"/>
                  <a:pt x="238" y="159"/>
                </a:cubicBezTo>
                <a:cubicBezTo>
                  <a:pt x="244" y="155"/>
                  <a:pt x="248" y="148"/>
                  <a:pt x="248" y="140"/>
                </a:cubicBezTo>
                <a:cubicBezTo>
                  <a:pt x="248" y="135"/>
                  <a:pt x="247" y="131"/>
                  <a:pt x="245" y="128"/>
                </a:cubicBezTo>
                <a:cubicBezTo>
                  <a:pt x="252" y="123"/>
                  <a:pt x="256" y="116"/>
                  <a:pt x="256" y="108"/>
                </a:cubicBezTo>
                <a:close/>
                <a:moveTo>
                  <a:pt x="64" y="211"/>
                </a:moveTo>
                <a:cubicBezTo>
                  <a:pt x="32" y="211"/>
                  <a:pt x="32" y="211"/>
                  <a:pt x="32" y="211"/>
                </a:cubicBezTo>
                <a:cubicBezTo>
                  <a:pt x="28" y="211"/>
                  <a:pt x="25" y="206"/>
                  <a:pt x="24" y="202"/>
                </a:cubicBezTo>
                <a:cubicBezTo>
                  <a:pt x="16" y="131"/>
                  <a:pt x="16" y="131"/>
                  <a:pt x="16" y="131"/>
                </a:cubicBezTo>
                <a:cubicBezTo>
                  <a:pt x="17" y="127"/>
                  <a:pt x="20" y="123"/>
                  <a:pt x="24" y="123"/>
                </a:cubicBezTo>
                <a:cubicBezTo>
                  <a:pt x="64" y="123"/>
                  <a:pt x="64" y="123"/>
                  <a:pt x="64" y="123"/>
                </a:cubicBezTo>
                <a:cubicBezTo>
                  <a:pt x="69" y="123"/>
                  <a:pt x="72" y="127"/>
                  <a:pt x="72" y="131"/>
                </a:cubicBezTo>
                <a:cubicBezTo>
                  <a:pt x="72" y="198"/>
                  <a:pt x="72" y="198"/>
                  <a:pt x="72" y="198"/>
                </a:cubicBezTo>
                <a:cubicBezTo>
                  <a:pt x="72" y="199"/>
                  <a:pt x="72" y="200"/>
                  <a:pt x="72" y="201"/>
                </a:cubicBezTo>
                <a:cubicBezTo>
                  <a:pt x="72" y="203"/>
                  <a:pt x="72" y="203"/>
                  <a:pt x="72" y="203"/>
                </a:cubicBezTo>
                <a:cubicBezTo>
                  <a:pt x="72" y="208"/>
                  <a:pt x="69" y="211"/>
                  <a:pt x="64" y="211"/>
                </a:cubicBezTo>
                <a:close/>
                <a:moveTo>
                  <a:pt x="210" y="203"/>
                </a:moveTo>
                <a:cubicBezTo>
                  <a:pt x="105" y="203"/>
                  <a:pt x="105" y="203"/>
                  <a:pt x="105" y="203"/>
                </a:cubicBezTo>
                <a:cubicBezTo>
                  <a:pt x="88" y="194"/>
                  <a:pt x="88" y="194"/>
                  <a:pt x="88" y="194"/>
                </a:cubicBezTo>
                <a:cubicBezTo>
                  <a:pt x="88" y="131"/>
                  <a:pt x="88" y="131"/>
                  <a:pt x="88" y="131"/>
                </a:cubicBezTo>
                <a:cubicBezTo>
                  <a:pt x="88" y="128"/>
                  <a:pt x="87" y="124"/>
                  <a:pt x="86" y="121"/>
                </a:cubicBezTo>
                <a:cubicBezTo>
                  <a:pt x="100" y="109"/>
                  <a:pt x="136" y="75"/>
                  <a:pt x="136" y="48"/>
                </a:cubicBezTo>
                <a:cubicBezTo>
                  <a:pt x="136" y="31"/>
                  <a:pt x="136" y="16"/>
                  <a:pt x="140" y="16"/>
                </a:cubicBezTo>
                <a:cubicBezTo>
                  <a:pt x="148" y="16"/>
                  <a:pt x="156" y="25"/>
                  <a:pt x="156" y="44"/>
                </a:cubicBezTo>
                <a:cubicBezTo>
                  <a:pt x="156" y="67"/>
                  <a:pt x="152" y="90"/>
                  <a:pt x="152" y="90"/>
                </a:cubicBezTo>
                <a:cubicBezTo>
                  <a:pt x="152" y="93"/>
                  <a:pt x="153" y="95"/>
                  <a:pt x="154" y="97"/>
                </a:cubicBezTo>
                <a:cubicBezTo>
                  <a:pt x="156" y="98"/>
                  <a:pt x="158" y="100"/>
                  <a:pt x="160" y="100"/>
                </a:cubicBezTo>
                <a:cubicBezTo>
                  <a:pt x="232" y="100"/>
                  <a:pt x="232" y="100"/>
                  <a:pt x="232" y="100"/>
                </a:cubicBezTo>
                <a:cubicBezTo>
                  <a:pt x="237" y="100"/>
                  <a:pt x="240" y="103"/>
                  <a:pt x="240" y="108"/>
                </a:cubicBezTo>
                <a:cubicBezTo>
                  <a:pt x="240" y="112"/>
                  <a:pt x="237" y="116"/>
                  <a:pt x="232" y="116"/>
                </a:cubicBezTo>
                <a:cubicBezTo>
                  <a:pt x="223" y="116"/>
                  <a:pt x="223" y="116"/>
                  <a:pt x="223" y="116"/>
                </a:cubicBezTo>
                <a:cubicBezTo>
                  <a:pt x="219" y="116"/>
                  <a:pt x="215" y="119"/>
                  <a:pt x="215" y="124"/>
                </a:cubicBezTo>
                <a:cubicBezTo>
                  <a:pt x="215" y="128"/>
                  <a:pt x="219" y="132"/>
                  <a:pt x="223" y="132"/>
                </a:cubicBezTo>
                <a:cubicBezTo>
                  <a:pt x="224" y="132"/>
                  <a:pt x="224" y="132"/>
                  <a:pt x="224" y="132"/>
                </a:cubicBezTo>
                <a:cubicBezTo>
                  <a:pt x="224" y="132"/>
                  <a:pt x="224" y="132"/>
                  <a:pt x="224" y="132"/>
                </a:cubicBezTo>
                <a:cubicBezTo>
                  <a:pt x="229" y="132"/>
                  <a:pt x="232" y="135"/>
                  <a:pt x="232" y="140"/>
                </a:cubicBezTo>
                <a:cubicBezTo>
                  <a:pt x="232" y="144"/>
                  <a:pt x="229" y="148"/>
                  <a:pt x="224" y="148"/>
                </a:cubicBezTo>
                <a:cubicBezTo>
                  <a:pt x="219" y="148"/>
                  <a:pt x="219" y="148"/>
                  <a:pt x="219" y="148"/>
                </a:cubicBezTo>
                <a:cubicBezTo>
                  <a:pt x="219" y="148"/>
                  <a:pt x="218" y="147"/>
                  <a:pt x="218" y="147"/>
                </a:cubicBezTo>
                <a:cubicBezTo>
                  <a:pt x="218" y="147"/>
                  <a:pt x="218" y="148"/>
                  <a:pt x="218" y="148"/>
                </a:cubicBezTo>
                <a:cubicBezTo>
                  <a:pt x="215" y="148"/>
                  <a:pt x="215" y="148"/>
                  <a:pt x="215" y="148"/>
                </a:cubicBezTo>
                <a:cubicBezTo>
                  <a:pt x="211" y="148"/>
                  <a:pt x="207" y="151"/>
                  <a:pt x="207" y="156"/>
                </a:cubicBezTo>
                <a:cubicBezTo>
                  <a:pt x="207" y="160"/>
                  <a:pt x="211" y="164"/>
                  <a:pt x="215" y="164"/>
                </a:cubicBezTo>
                <a:cubicBezTo>
                  <a:pt x="218" y="164"/>
                  <a:pt x="218" y="164"/>
                  <a:pt x="218" y="164"/>
                </a:cubicBezTo>
                <a:cubicBezTo>
                  <a:pt x="222" y="164"/>
                  <a:pt x="224" y="166"/>
                  <a:pt x="224" y="169"/>
                </a:cubicBezTo>
                <a:cubicBezTo>
                  <a:pt x="224" y="173"/>
                  <a:pt x="221" y="175"/>
                  <a:pt x="218" y="175"/>
                </a:cubicBezTo>
                <a:cubicBezTo>
                  <a:pt x="210" y="175"/>
                  <a:pt x="210" y="175"/>
                  <a:pt x="210" y="175"/>
                </a:cubicBezTo>
                <a:cubicBezTo>
                  <a:pt x="210" y="175"/>
                  <a:pt x="210" y="175"/>
                  <a:pt x="210" y="175"/>
                </a:cubicBezTo>
                <a:cubicBezTo>
                  <a:pt x="210" y="175"/>
                  <a:pt x="210" y="175"/>
                  <a:pt x="210" y="175"/>
                </a:cubicBezTo>
                <a:cubicBezTo>
                  <a:pt x="206" y="175"/>
                  <a:pt x="202" y="179"/>
                  <a:pt x="202" y="183"/>
                </a:cubicBezTo>
                <a:cubicBezTo>
                  <a:pt x="202" y="188"/>
                  <a:pt x="206" y="191"/>
                  <a:pt x="210" y="191"/>
                </a:cubicBezTo>
                <a:cubicBezTo>
                  <a:pt x="213" y="191"/>
                  <a:pt x="216" y="194"/>
                  <a:pt x="216" y="197"/>
                </a:cubicBezTo>
                <a:cubicBezTo>
                  <a:pt x="216" y="201"/>
                  <a:pt x="213" y="203"/>
                  <a:pt x="210" y="203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endParaRPr lang="en-US" sz="840"/>
          </a:p>
        </p:txBody>
      </p:sp>
      <p:sp>
        <p:nvSpPr>
          <p:cNvPr id="8" name="Shape1_20180321_204814">
            <a:extLst>
              <a:ext uri="{FF2B5EF4-FFF2-40B4-BE49-F238E27FC236}">
                <a16:creationId xmlns:a16="http://schemas.microsoft.com/office/drawing/2014/main" id="{B54E185A-C672-752A-1372-BBAF8C9F57AE}"/>
              </a:ext>
            </a:extLst>
          </p:cNvPr>
          <p:cNvSpPr txBox="1">
            <a:spLocks/>
          </p:cNvSpPr>
          <p:nvPr/>
        </p:nvSpPr>
        <p:spPr>
          <a:xfrm>
            <a:off x="7739012" y="1871265"/>
            <a:ext cx="3204759" cy="738664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Aft>
                <a:spcPts val="0"/>
              </a:spcAft>
              <a:buNone/>
            </a:pPr>
            <a:r>
              <a:rPr lang="en-US" sz="2000" b="1" dirty="0">
                <a:solidFill>
                  <a:schemeClr val="tx1"/>
                </a:solidFill>
                <a:latin typeface="+mj-lt"/>
              </a:rPr>
              <a:t>TITLE GOES HERE</a:t>
            </a:r>
            <a:br>
              <a:rPr lang="en-US" sz="1800" b="1" dirty="0">
                <a:solidFill>
                  <a:schemeClr val="tx1"/>
                </a:solidFill>
                <a:latin typeface="+mj-lt"/>
              </a:rPr>
            </a:br>
            <a:r>
              <a:rPr lang="en-US" sz="1400" dirty="0">
                <a:solidFill>
                  <a:schemeClr val="tx1"/>
                </a:solidFill>
                <a:latin typeface="+mn-lt"/>
              </a:rPr>
              <a:t>This is a sample text. You simply add your own text and description here</a:t>
            </a:r>
          </a:p>
        </p:txBody>
      </p:sp>
      <p:sp>
        <p:nvSpPr>
          <p:cNvPr id="9" name="Shape1_20180321_204814">
            <a:extLst>
              <a:ext uri="{FF2B5EF4-FFF2-40B4-BE49-F238E27FC236}">
                <a16:creationId xmlns:a16="http://schemas.microsoft.com/office/drawing/2014/main" id="{24360C03-57C5-BDB3-5484-BB9110673879}"/>
              </a:ext>
            </a:extLst>
          </p:cNvPr>
          <p:cNvSpPr txBox="1">
            <a:spLocks/>
          </p:cNvSpPr>
          <p:nvPr/>
        </p:nvSpPr>
        <p:spPr>
          <a:xfrm>
            <a:off x="1222097" y="1871265"/>
            <a:ext cx="3204759" cy="738664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spcAft>
                <a:spcPts val="0"/>
              </a:spcAft>
              <a:buNone/>
            </a:pPr>
            <a:r>
              <a:rPr lang="en-US" sz="2000" b="1" dirty="0">
                <a:solidFill>
                  <a:schemeClr val="tx1"/>
                </a:solidFill>
                <a:latin typeface="+mj-lt"/>
              </a:rPr>
              <a:t>TITLE GOES HERE</a:t>
            </a:r>
            <a:br>
              <a:rPr lang="en-US" sz="1800" b="1" dirty="0">
                <a:solidFill>
                  <a:schemeClr val="tx1"/>
                </a:solidFill>
                <a:latin typeface="+mj-lt"/>
              </a:rPr>
            </a:br>
            <a:r>
              <a:rPr lang="en-US" sz="1400" dirty="0">
                <a:solidFill>
                  <a:schemeClr val="tx1"/>
                </a:solidFill>
                <a:latin typeface="+mn-lt"/>
              </a:rPr>
              <a:t>This is a sample text. You simply add your own text and description here</a:t>
            </a:r>
          </a:p>
        </p:txBody>
      </p:sp>
      <p:sp>
        <p:nvSpPr>
          <p:cNvPr id="10" name="Freeform 67">
            <a:extLst>
              <a:ext uri="{FF2B5EF4-FFF2-40B4-BE49-F238E27FC236}">
                <a16:creationId xmlns:a16="http://schemas.microsoft.com/office/drawing/2014/main" id="{8D18F9C2-E8F7-21EC-25FC-5F3DE52B6AC4}"/>
              </a:ext>
            </a:extLst>
          </p:cNvPr>
          <p:cNvSpPr>
            <a:spLocks/>
          </p:cNvSpPr>
          <p:nvPr/>
        </p:nvSpPr>
        <p:spPr bwMode="auto">
          <a:xfrm rot="19091445" flipH="1" flipV="1">
            <a:off x="7482623" y="2486087"/>
            <a:ext cx="226135" cy="452459"/>
          </a:xfrm>
          <a:custGeom>
            <a:avLst/>
            <a:gdLst>
              <a:gd name="T0" fmla="*/ 46 w 46"/>
              <a:gd name="T1" fmla="*/ 0 h 111"/>
              <a:gd name="T2" fmla="*/ 42 w 46"/>
              <a:gd name="T3" fmla="*/ 2 h 111"/>
              <a:gd name="T4" fmla="*/ 18 w 46"/>
              <a:gd name="T5" fmla="*/ 90 h 111"/>
              <a:gd name="T6" fmla="*/ 38 w 46"/>
              <a:gd name="T7" fmla="*/ 111 h 111"/>
              <a:gd name="T8" fmla="*/ 46 w 46"/>
              <a:gd name="T9" fmla="*/ 0 h 1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6" h="111">
                <a:moveTo>
                  <a:pt x="46" y="0"/>
                </a:moveTo>
                <a:cubicBezTo>
                  <a:pt x="45" y="0"/>
                  <a:pt x="43" y="1"/>
                  <a:pt x="42" y="2"/>
                </a:cubicBezTo>
                <a:cubicBezTo>
                  <a:pt x="11" y="20"/>
                  <a:pt x="0" y="59"/>
                  <a:pt x="18" y="90"/>
                </a:cubicBezTo>
                <a:cubicBezTo>
                  <a:pt x="23" y="99"/>
                  <a:pt x="30" y="106"/>
                  <a:pt x="38" y="111"/>
                </a:cubicBezTo>
                <a:cubicBezTo>
                  <a:pt x="33" y="73"/>
                  <a:pt x="36" y="35"/>
                  <a:pt x="46" y="0"/>
                </a:cubicBezTo>
                <a:close/>
              </a:path>
            </a:pathLst>
          </a:custGeom>
          <a:solidFill>
            <a:schemeClr val="accent2">
              <a:lumMod val="50000"/>
            </a:schemeClr>
          </a:solidFill>
          <a:ln>
            <a:noFill/>
          </a:ln>
        </p:spPr>
        <p:txBody>
          <a:bodyPr vert="horz" wrap="square" lIns="57150" tIns="28575" rIns="57150" bIns="28575" numCol="1" anchor="t" anchorCtr="0" compatLnSpc="1">
            <a:prstTxWarp prst="textNoShape">
              <a:avLst/>
            </a:prstTxWarp>
          </a:bodyPr>
          <a:lstStyle/>
          <a:p>
            <a:endParaRPr lang="en-US" sz="704"/>
          </a:p>
        </p:txBody>
      </p:sp>
      <p:sp>
        <p:nvSpPr>
          <p:cNvPr id="11" name="Freeform 68">
            <a:extLst>
              <a:ext uri="{FF2B5EF4-FFF2-40B4-BE49-F238E27FC236}">
                <a16:creationId xmlns:a16="http://schemas.microsoft.com/office/drawing/2014/main" id="{279AA8B0-5551-08E6-D77C-3D48BEA7791C}"/>
              </a:ext>
            </a:extLst>
          </p:cNvPr>
          <p:cNvSpPr>
            <a:spLocks/>
          </p:cNvSpPr>
          <p:nvPr/>
        </p:nvSpPr>
        <p:spPr bwMode="auto">
          <a:xfrm rot="20865059" flipH="1" flipV="1">
            <a:off x="6415708" y="1869834"/>
            <a:ext cx="453686" cy="384084"/>
          </a:xfrm>
          <a:custGeom>
            <a:avLst/>
            <a:gdLst>
              <a:gd name="T0" fmla="*/ 0 w 100"/>
              <a:gd name="T1" fmla="*/ 0 h 68"/>
              <a:gd name="T2" fmla="*/ 8 w 100"/>
              <a:gd name="T3" fmla="*/ 27 h 68"/>
              <a:gd name="T4" fmla="*/ 96 w 100"/>
              <a:gd name="T5" fmla="*/ 51 h 68"/>
              <a:gd name="T6" fmla="*/ 100 w 100"/>
              <a:gd name="T7" fmla="*/ 48 h 68"/>
              <a:gd name="T8" fmla="*/ 0 w 100"/>
              <a:gd name="T9" fmla="*/ 0 h 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00" h="68">
                <a:moveTo>
                  <a:pt x="0" y="0"/>
                </a:moveTo>
                <a:cubicBezTo>
                  <a:pt x="0" y="9"/>
                  <a:pt x="3" y="18"/>
                  <a:pt x="8" y="27"/>
                </a:cubicBezTo>
                <a:cubicBezTo>
                  <a:pt x="26" y="58"/>
                  <a:pt x="65" y="68"/>
                  <a:pt x="96" y="51"/>
                </a:cubicBezTo>
                <a:cubicBezTo>
                  <a:pt x="97" y="50"/>
                  <a:pt x="100" y="48"/>
                  <a:pt x="100" y="48"/>
                </a:cubicBezTo>
                <a:cubicBezTo>
                  <a:pt x="64" y="39"/>
                  <a:pt x="30" y="23"/>
                  <a:pt x="0" y="0"/>
                </a:cubicBezTo>
                <a:close/>
              </a:path>
            </a:pathLst>
          </a:custGeom>
          <a:solidFill>
            <a:schemeClr val="accent2">
              <a:lumMod val="50000"/>
            </a:schemeClr>
          </a:solidFill>
          <a:ln>
            <a:noFill/>
          </a:ln>
        </p:spPr>
        <p:txBody>
          <a:bodyPr vert="horz" wrap="square" lIns="57150" tIns="28575" rIns="57150" bIns="28575" numCol="1" anchor="t" anchorCtr="0" compatLnSpc="1">
            <a:prstTxWarp prst="textNoShape">
              <a:avLst/>
            </a:prstTxWarp>
          </a:bodyPr>
          <a:lstStyle/>
          <a:p>
            <a:endParaRPr lang="en-US" sz="704"/>
          </a:p>
        </p:txBody>
      </p:sp>
      <p:sp>
        <p:nvSpPr>
          <p:cNvPr id="12" name="Freeform 69">
            <a:extLst>
              <a:ext uri="{FF2B5EF4-FFF2-40B4-BE49-F238E27FC236}">
                <a16:creationId xmlns:a16="http://schemas.microsoft.com/office/drawing/2014/main" id="{F0E1CFA1-A337-4F11-6219-DEBC10B29FF4}"/>
              </a:ext>
            </a:extLst>
          </p:cNvPr>
          <p:cNvSpPr>
            <a:spLocks/>
          </p:cNvSpPr>
          <p:nvPr/>
        </p:nvSpPr>
        <p:spPr bwMode="auto">
          <a:xfrm rot="20290094" flipH="1" flipV="1">
            <a:off x="6652123" y="1799896"/>
            <a:ext cx="866986" cy="1164109"/>
          </a:xfrm>
          <a:custGeom>
            <a:avLst/>
            <a:gdLst>
              <a:gd name="T0" fmla="*/ 43 w 213"/>
              <a:gd name="T1" fmla="*/ 167 h 286"/>
              <a:gd name="T2" fmla="*/ 168 w 213"/>
              <a:gd name="T3" fmla="*/ 286 h 286"/>
              <a:gd name="T4" fmla="*/ 146 w 213"/>
              <a:gd name="T5" fmla="*/ 263 h 286"/>
              <a:gd name="T6" fmla="*/ 145 w 213"/>
              <a:gd name="T7" fmla="*/ 262 h 286"/>
              <a:gd name="T8" fmla="*/ 137 w 213"/>
              <a:gd name="T9" fmla="*/ 234 h 286"/>
              <a:gd name="T10" fmla="*/ 169 w 213"/>
              <a:gd name="T11" fmla="*/ 174 h 286"/>
              <a:gd name="T12" fmla="*/ 194 w 213"/>
              <a:gd name="T13" fmla="*/ 80 h 286"/>
              <a:gd name="T14" fmla="*/ 100 w 213"/>
              <a:gd name="T15" fmla="*/ 55 h 286"/>
              <a:gd name="T16" fmla="*/ 32 w 213"/>
              <a:gd name="T17" fmla="*/ 53 h 286"/>
              <a:gd name="T18" fmla="*/ 12 w 213"/>
              <a:gd name="T19" fmla="*/ 32 h 286"/>
              <a:gd name="T20" fmla="*/ 11 w 213"/>
              <a:gd name="T21" fmla="*/ 31 h 286"/>
              <a:gd name="T22" fmla="*/ 3 w 213"/>
              <a:gd name="T23" fmla="*/ 0 h 286"/>
              <a:gd name="T24" fmla="*/ 43 w 213"/>
              <a:gd name="T25" fmla="*/ 167 h 2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213" h="286">
                <a:moveTo>
                  <a:pt x="43" y="167"/>
                </a:moveTo>
                <a:cubicBezTo>
                  <a:pt x="74" y="220"/>
                  <a:pt x="118" y="260"/>
                  <a:pt x="168" y="286"/>
                </a:cubicBezTo>
                <a:cubicBezTo>
                  <a:pt x="159" y="280"/>
                  <a:pt x="152" y="273"/>
                  <a:pt x="146" y="263"/>
                </a:cubicBezTo>
                <a:cubicBezTo>
                  <a:pt x="145" y="263"/>
                  <a:pt x="145" y="262"/>
                  <a:pt x="145" y="262"/>
                </a:cubicBezTo>
                <a:cubicBezTo>
                  <a:pt x="140" y="253"/>
                  <a:pt x="137" y="244"/>
                  <a:pt x="137" y="234"/>
                </a:cubicBezTo>
                <a:cubicBezTo>
                  <a:pt x="135" y="211"/>
                  <a:pt x="147" y="187"/>
                  <a:pt x="169" y="174"/>
                </a:cubicBezTo>
                <a:cubicBezTo>
                  <a:pt x="201" y="155"/>
                  <a:pt x="213" y="113"/>
                  <a:pt x="194" y="80"/>
                </a:cubicBezTo>
                <a:cubicBezTo>
                  <a:pt x="175" y="48"/>
                  <a:pt x="133" y="36"/>
                  <a:pt x="100" y="55"/>
                </a:cubicBezTo>
                <a:cubicBezTo>
                  <a:pt x="78" y="68"/>
                  <a:pt x="52" y="66"/>
                  <a:pt x="32" y="53"/>
                </a:cubicBezTo>
                <a:cubicBezTo>
                  <a:pt x="24" y="48"/>
                  <a:pt x="17" y="41"/>
                  <a:pt x="12" y="32"/>
                </a:cubicBezTo>
                <a:cubicBezTo>
                  <a:pt x="12" y="31"/>
                  <a:pt x="12" y="31"/>
                  <a:pt x="11" y="31"/>
                </a:cubicBezTo>
                <a:cubicBezTo>
                  <a:pt x="6" y="21"/>
                  <a:pt x="3" y="10"/>
                  <a:pt x="3" y="0"/>
                </a:cubicBezTo>
                <a:cubicBezTo>
                  <a:pt x="0" y="56"/>
                  <a:pt x="13" y="115"/>
                  <a:pt x="43" y="167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57150" tIns="28575" rIns="57150" bIns="28575" numCol="1" anchor="t" anchorCtr="0" compatLnSpc="1">
            <a:prstTxWarp prst="textNoShape">
              <a:avLst/>
            </a:prstTxWarp>
          </a:bodyPr>
          <a:lstStyle/>
          <a:p>
            <a:endParaRPr lang="en-US" sz="704"/>
          </a:p>
        </p:txBody>
      </p:sp>
      <p:sp>
        <p:nvSpPr>
          <p:cNvPr id="13" name="Freeform 67">
            <a:extLst>
              <a:ext uri="{FF2B5EF4-FFF2-40B4-BE49-F238E27FC236}">
                <a16:creationId xmlns:a16="http://schemas.microsoft.com/office/drawing/2014/main" id="{88B30FA6-30CA-E5CB-7444-9C14DF7C7D12}"/>
              </a:ext>
            </a:extLst>
          </p:cNvPr>
          <p:cNvSpPr>
            <a:spLocks/>
          </p:cNvSpPr>
          <p:nvPr/>
        </p:nvSpPr>
        <p:spPr bwMode="auto">
          <a:xfrm rot="2508555" flipV="1">
            <a:off x="4553573" y="2486089"/>
            <a:ext cx="226135" cy="452459"/>
          </a:xfrm>
          <a:custGeom>
            <a:avLst/>
            <a:gdLst>
              <a:gd name="T0" fmla="*/ 46 w 46"/>
              <a:gd name="T1" fmla="*/ 0 h 111"/>
              <a:gd name="T2" fmla="*/ 42 w 46"/>
              <a:gd name="T3" fmla="*/ 2 h 111"/>
              <a:gd name="T4" fmla="*/ 18 w 46"/>
              <a:gd name="T5" fmla="*/ 90 h 111"/>
              <a:gd name="T6" fmla="*/ 38 w 46"/>
              <a:gd name="T7" fmla="*/ 111 h 111"/>
              <a:gd name="T8" fmla="*/ 46 w 46"/>
              <a:gd name="T9" fmla="*/ 0 h 1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6" h="111">
                <a:moveTo>
                  <a:pt x="46" y="0"/>
                </a:moveTo>
                <a:cubicBezTo>
                  <a:pt x="45" y="0"/>
                  <a:pt x="43" y="1"/>
                  <a:pt x="42" y="2"/>
                </a:cubicBezTo>
                <a:cubicBezTo>
                  <a:pt x="11" y="20"/>
                  <a:pt x="0" y="59"/>
                  <a:pt x="18" y="90"/>
                </a:cubicBezTo>
                <a:cubicBezTo>
                  <a:pt x="23" y="99"/>
                  <a:pt x="30" y="106"/>
                  <a:pt x="38" y="111"/>
                </a:cubicBezTo>
                <a:cubicBezTo>
                  <a:pt x="33" y="73"/>
                  <a:pt x="36" y="35"/>
                  <a:pt x="46" y="0"/>
                </a:cubicBezTo>
                <a:close/>
              </a:path>
            </a:pathLst>
          </a:custGeom>
          <a:solidFill>
            <a:schemeClr val="accent1">
              <a:lumMod val="50000"/>
            </a:schemeClr>
          </a:solidFill>
          <a:ln>
            <a:noFill/>
          </a:ln>
        </p:spPr>
        <p:txBody>
          <a:bodyPr vert="horz" wrap="square" lIns="57150" tIns="28575" rIns="57150" bIns="28575" numCol="1" anchor="t" anchorCtr="0" compatLnSpc="1">
            <a:prstTxWarp prst="textNoShape">
              <a:avLst/>
            </a:prstTxWarp>
          </a:bodyPr>
          <a:lstStyle/>
          <a:p>
            <a:endParaRPr lang="en-US" sz="704"/>
          </a:p>
        </p:txBody>
      </p:sp>
      <p:sp>
        <p:nvSpPr>
          <p:cNvPr id="14" name="Freeform 68">
            <a:extLst>
              <a:ext uri="{FF2B5EF4-FFF2-40B4-BE49-F238E27FC236}">
                <a16:creationId xmlns:a16="http://schemas.microsoft.com/office/drawing/2014/main" id="{75C57288-E542-B0AF-209C-72A0874B0C27}"/>
              </a:ext>
            </a:extLst>
          </p:cNvPr>
          <p:cNvSpPr>
            <a:spLocks/>
          </p:cNvSpPr>
          <p:nvPr/>
        </p:nvSpPr>
        <p:spPr bwMode="auto">
          <a:xfrm rot="734941" flipV="1">
            <a:off x="5392937" y="1869836"/>
            <a:ext cx="453686" cy="384084"/>
          </a:xfrm>
          <a:custGeom>
            <a:avLst/>
            <a:gdLst>
              <a:gd name="T0" fmla="*/ 0 w 100"/>
              <a:gd name="T1" fmla="*/ 0 h 68"/>
              <a:gd name="T2" fmla="*/ 8 w 100"/>
              <a:gd name="T3" fmla="*/ 27 h 68"/>
              <a:gd name="T4" fmla="*/ 96 w 100"/>
              <a:gd name="T5" fmla="*/ 51 h 68"/>
              <a:gd name="T6" fmla="*/ 100 w 100"/>
              <a:gd name="T7" fmla="*/ 48 h 68"/>
              <a:gd name="T8" fmla="*/ 0 w 100"/>
              <a:gd name="T9" fmla="*/ 0 h 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00" h="68">
                <a:moveTo>
                  <a:pt x="0" y="0"/>
                </a:moveTo>
                <a:cubicBezTo>
                  <a:pt x="0" y="9"/>
                  <a:pt x="3" y="18"/>
                  <a:pt x="8" y="27"/>
                </a:cubicBezTo>
                <a:cubicBezTo>
                  <a:pt x="26" y="58"/>
                  <a:pt x="65" y="68"/>
                  <a:pt x="96" y="51"/>
                </a:cubicBezTo>
                <a:cubicBezTo>
                  <a:pt x="97" y="50"/>
                  <a:pt x="100" y="48"/>
                  <a:pt x="100" y="48"/>
                </a:cubicBezTo>
                <a:cubicBezTo>
                  <a:pt x="64" y="39"/>
                  <a:pt x="30" y="23"/>
                  <a:pt x="0" y="0"/>
                </a:cubicBezTo>
                <a:close/>
              </a:path>
            </a:pathLst>
          </a:custGeom>
          <a:solidFill>
            <a:schemeClr val="accent1">
              <a:lumMod val="50000"/>
            </a:schemeClr>
          </a:solidFill>
          <a:ln>
            <a:noFill/>
          </a:ln>
        </p:spPr>
        <p:txBody>
          <a:bodyPr vert="horz" wrap="square" lIns="57150" tIns="28575" rIns="57150" bIns="28575" numCol="1" anchor="t" anchorCtr="0" compatLnSpc="1">
            <a:prstTxWarp prst="textNoShape">
              <a:avLst/>
            </a:prstTxWarp>
          </a:bodyPr>
          <a:lstStyle/>
          <a:p>
            <a:endParaRPr lang="en-US" sz="704"/>
          </a:p>
        </p:txBody>
      </p:sp>
      <p:sp>
        <p:nvSpPr>
          <p:cNvPr id="15" name="Freeform 69">
            <a:extLst>
              <a:ext uri="{FF2B5EF4-FFF2-40B4-BE49-F238E27FC236}">
                <a16:creationId xmlns:a16="http://schemas.microsoft.com/office/drawing/2014/main" id="{8DB47667-36F4-DEE4-AFFB-6D4C3DD588CD}"/>
              </a:ext>
            </a:extLst>
          </p:cNvPr>
          <p:cNvSpPr>
            <a:spLocks/>
          </p:cNvSpPr>
          <p:nvPr/>
        </p:nvSpPr>
        <p:spPr bwMode="auto">
          <a:xfrm rot="1309906" flipV="1">
            <a:off x="4743222" y="1799898"/>
            <a:ext cx="866986" cy="1164109"/>
          </a:xfrm>
          <a:custGeom>
            <a:avLst/>
            <a:gdLst>
              <a:gd name="T0" fmla="*/ 43 w 213"/>
              <a:gd name="T1" fmla="*/ 167 h 286"/>
              <a:gd name="T2" fmla="*/ 168 w 213"/>
              <a:gd name="T3" fmla="*/ 286 h 286"/>
              <a:gd name="T4" fmla="*/ 146 w 213"/>
              <a:gd name="T5" fmla="*/ 263 h 286"/>
              <a:gd name="T6" fmla="*/ 145 w 213"/>
              <a:gd name="T7" fmla="*/ 262 h 286"/>
              <a:gd name="T8" fmla="*/ 137 w 213"/>
              <a:gd name="T9" fmla="*/ 234 h 286"/>
              <a:gd name="T10" fmla="*/ 169 w 213"/>
              <a:gd name="T11" fmla="*/ 174 h 286"/>
              <a:gd name="T12" fmla="*/ 194 w 213"/>
              <a:gd name="T13" fmla="*/ 80 h 286"/>
              <a:gd name="T14" fmla="*/ 100 w 213"/>
              <a:gd name="T15" fmla="*/ 55 h 286"/>
              <a:gd name="T16" fmla="*/ 32 w 213"/>
              <a:gd name="T17" fmla="*/ 53 h 286"/>
              <a:gd name="T18" fmla="*/ 12 w 213"/>
              <a:gd name="T19" fmla="*/ 32 h 286"/>
              <a:gd name="T20" fmla="*/ 11 w 213"/>
              <a:gd name="T21" fmla="*/ 31 h 286"/>
              <a:gd name="T22" fmla="*/ 3 w 213"/>
              <a:gd name="T23" fmla="*/ 0 h 286"/>
              <a:gd name="T24" fmla="*/ 43 w 213"/>
              <a:gd name="T25" fmla="*/ 167 h 2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213" h="286">
                <a:moveTo>
                  <a:pt x="43" y="167"/>
                </a:moveTo>
                <a:cubicBezTo>
                  <a:pt x="74" y="220"/>
                  <a:pt x="118" y="260"/>
                  <a:pt x="168" y="286"/>
                </a:cubicBezTo>
                <a:cubicBezTo>
                  <a:pt x="159" y="280"/>
                  <a:pt x="152" y="273"/>
                  <a:pt x="146" y="263"/>
                </a:cubicBezTo>
                <a:cubicBezTo>
                  <a:pt x="145" y="263"/>
                  <a:pt x="145" y="262"/>
                  <a:pt x="145" y="262"/>
                </a:cubicBezTo>
                <a:cubicBezTo>
                  <a:pt x="140" y="253"/>
                  <a:pt x="137" y="244"/>
                  <a:pt x="137" y="234"/>
                </a:cubicBezTo>
                <a:cubicBezTo>
                  <a:pt x="135" y="211"/>
                  <a:pt x="147" y="187"/>
                  <a:pt x="169" y="174"/>
                </a:cubicBezTo>
                <a:cubicBezTo>
                  <a:pt x="201" y="155"/>
                  <a:pt x="213" y="113"/>
                  <a:pt x="194" y="80"/>
                </a:cubicBezTo>
                <a:cubicBezTo>
                  <a:pt x="175" y="48"/>
                  <a:pt x="133" y="36"/>
                  <a:pt x="100" y="55"/>
                </a:cubicBezTo>
                <a:cubicBezTo>
                  <a:pt x="78" y="68"/>
                  <a:pt x="52" y="66"/>
                  <a:pt x="32" y="53"/>
                </a:cubicBezTo>
                <a:cubicBezTo>
                  <a:pt x="24" y="48"/>
                  <a:pt x="17" y="41"/>
                  <a:pt x="12" y="32"/>
                </a:cubicBezTo>
                <a:cubicBezTo>
                  <a:pt x="12" y="31"/>
                  <a:pt x="12" y="31"/>
                  <a:pt x="11" y="31"/>
                </a:cubicBezTo>
                <a:cubicBezTo>
                  <a:pt x="6" y="21"/>
                  <a:pt x="3" y="10"/>
                  <a:pt x="3" y="0"/>
                </a:cubicBezTo>
                <a:cubicBezTo>
                  <a:pt x="0" y="56"/>
                  <a:pt x="13" y="115"/>
                  <a:pt x="43" y="167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57150" tIns="28575" rIns="57150" bIns="28575" numCol="1" anchor="t" anchorCtr="0" compatLnSpc="1">
            <a:prstTxWarp prst="textNoShape">
              <a:avLst/>
            </a:prstTxWarp>
          </a:bodyPr>
          <a:lstStyle/>
          <a:p>
            <a:endParaRPr lang="en-US" sz="704"/>
          </a:p>
        </p:txBody>
      </p:sp>
      <p:sp>
        <p:nvSpPr>
          <p:cNvPr id="16" name="Freeform 67">
            <a:extLst>
              <a:ext uri="{FF2B5EF4-FFF2-40B4-BE49-F238E27FC236}">
                <a16:creationId xmlns:a16="http://schemas.microsoft.com/office/drawing/2014/main" id="{BEAE1FA3-A41D-BBF4-FD07-C259632D125B}"/>
              </a:ext>
            </a:extLst>
          </p:cNvPr>
          <p:cNvSpPr>
            <a:spLocks/>
          </p:cNvSpPr>
          <p:nvPr/>
        </p:nvSpPr>
        <p:spPr bwMode="auto">
          <a:xfrm rot="17013445">
            <a:off x="5382381" y="5206043"/>
            <a:ext cx="226135" cy="452459"/>
          </a:xfrm>
          <a:custGeom>
            <a:avLst/>
            <a:gdLst>
              <a:gd name="T0" fmla="*/ 46 w 46"/>
              <a:gd name="T1" fmla="*/ 0 h 111"/>
              <a:gd name="T2" fmla="*/ 42 w 46"/>
              <a:gd name="T3" fmla="*/ 2 h 111"/>
              <a:gd name="T4" fmla="*/ 18 w 46"/>
              <a:gd name="T5" fmla="*/ 90 h 111"/>
              <a:gd name="T6" fmla="*/ 38 w 46"/>
              <a:gd name="T7" fmla="*/ 111 h 111"/>
              <a:gd name="T8" fmla="*/ 46 w 46"/>
              <a:gd name="T9" fmla="*/ 0 h 1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6" h="111">
                <a:moveTo>
                  <a:pt x="46" y="0"/>
                </a:moveTo>
                <a:cubicBezTo>
                  <a:pt x="45" y="0"/>
                  <a:pt x="43" y="1"/>
                  <a:pt x="42" y="2"/>
                </a:cubicBezTo>
                <a:cubicBezTo>
                  <a:pt x="11" y="20"/>
                  <a:pt x="0" y="59"/>
                  <a:pt x="18" y="90"/>
                </a:cubicBezTo>
                <a:cubicBezTo>
                  <a:pt x="23" y="99"/>
                  <a:pt x="30" y="106"/>
                  <a:pt x="38" y="111"/>
                </a:cubicBezTo>
                <a:cubicBezTo>
                  <a:pt x="33" y="73"/>
                  <a:pt x="36" y="35"/>
                  <a:pt x="46" y="0"/>
                </a:cubicBezTo>
                <a:close/>
              </a:path>
            </a:pathLst>
          </a:custGeom>
          <a:solidFill>
            <a:schemeClr val="accent4">
              <a:lumMod val="50000"/>
            </a:schemeClr>
          </a:solidFill>
          <a:ln>
            <a:noFill/>
          </a:ln>
        </p:spPr>
        <p:txBody>
          <a:bodyPr vert="horz" wrap="square" lIns="57150" tIns="28575" rIns="57150" bIns="28575" numCol="1" anchor="t" anchorCtr="0" compatLnSpc="1">
            <a:prstTxWarp prst="textNoShape">
              <a:avLst/>
            </a:prstTxWarp>
          </a:bodyPr>
          <a:lstStyle/>
          <a:p>
            <a:endParaRPr lang="en-US" sz="704"/>
          </a:p>
        </p:txBody>
      </p:sp>
      <p:sp>
        <p:nvSpPr>
          <p:cNvPr id="17" name="Freeform 68">
            <a:extLst>
              <a:ext uri="{FF2B5EF4-FFF2-40B4-BE49-F238E27FC236}">
                <a16:creationId xmlns:a16="http://schemas.microsoft.com/office/drawing/2014/main" id="{EA3A7C2E-878E-CEAF-8E1A-6A0BD85F26B6}"/>
              </a:ext>
            </a:extLst>
          </p:cNvPr>
          <p:cNvSpPr>
            <a:spLocks/>
          </p:cNvSpPr>
          <p:nvPr/>
        </p:nvSpPr>
        <p:spPr bwMode="auto">
          <a:xfrm rot="18787059">
            <a:off x="6422514" y="5233726"/>
            <a:ext cx="453686" cy="384084"/>
          </a:xfrm>
          <a:custGeom>
            <a:avLst/>
            <a:gdLst>
              <a:gd name="T0" fmla="*/ 0 w 100"/>
              <a:gd name="T1" fmla="*/ 0 h 68"/>
              <a:gd name="T2" fmla="*/ 8 w 100"/>
              <a:gd name="T3" fmla="*/ 27 h 68"/>
              <a:gd name="T4" fmla="*/ 96 w 100"/>
              <a:gd name="T5" fmla="*/ 51 h 68"/>
              <a:gd name="T6" fmla="*/ 100 w 100"/>
              <a:gd name="T7" fmla="*/ 48 h 68"/>
              <a:gd name="T8" fmla="*/ 0 w 100"/>
              <a:gd name="T9" fmla="*/ 0 h 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00" h="68">
                <a:moveTo>
                  <a:pt x="0" y="0"/>
                </a:moveTo>
                <a:cubicBezTo>
                  <a:pt x="0" y="9"/>
                  <a:pt x="3" y="18"/>
                  <a:pt x="8" y="27"/>
                </a:cubicBezTo>
                <a:cubicBezTo>
                  <a:pt x="26" y="58"/>
                  <a:pt x="65" y="68"/>
                  <a:pt x="96" y="51"/>
                </a:cubicBezTo>
                <a:cubicBezTo>
                  <a:pt x="97" y="50"/>
                  <a:pt x="100" y="48"/>
                  <a:pt x="100" y="48"/>
                </a:cubicBezTo>
                <a:cubicBezTo>
                  <a:pt x="64" y="39"/>
                  <a:pt x="30" y="23"/>
                  <a:pt x="0" y="0"/>
                </a:cubicBezTo>
                <a:close/>
              </a:path>
            </a:pathLst>
          </a:custGeom>
          <a:solidFill>
            <a:schemeClr val="accent4">
              <a:lumMod val="50000"/>
            </a:schemeClr>
          </a:solidFill>
          <a:ln>
            <a:noFill/>
          </a:ln>
        </p:spPr>
        <p:txBody>
          <a:bodyPr vert="horz" wrap="square" lIns="57150" tIns="28575" rIns="57150" bIns="28575" numCol="1" anchor="t" anchorCtr="0" compatLnSpc="1">
            <a:prstTxWarp prst="textNoShape">
              <a:avLst/>
            </a:prstTxWarp>
          </a:bodyPr>
          <a:lstStyle/>
          <a:p>
            <a:endParaRPr lang="en-US" sz="704"/>
          </a:p>
        </p:txBody>
      </p:sp>
      <p:sp>
        <p:nvSpPr>
          <p:cNvPr id="18" name="Freeform 69">
            <a:extLst>
              <a:ext uri="{FF2B5EF4-FFF2-40B4-BE49-F238E27FC236}">
                <a16:creationId xmlns:a16="http://schemas.microsoft.com/office/drawing/2014/main" id="{8577F041-67E6-975A-FA81-8D67F5177FC6}"/>
              </a:ext>
            </a:extLst>
          </p:cNvPr>
          <p:cNvSpPr>
            <a:spLocks/>
          </p:cNvSpPr>
          <p:nvPr/>
        </p:nvSpPr>
        <p:spPr bwMode="auto">
          <a:xfrm rot="18212094">
            <a:off x="5669402" y="4832158"/>
            <a:ext cx="866986" cy="1164109"/>
          </a:xfrm>
          <a:custGeom>
            <a:avLst/>
            <a:gdLst>
              <a:gd name="T0" fmla="*/ 43 w 213"/>
              <a:gd name="T1" fmla="*/ 167 h 286"/>
              <a:gd name="T2" fmla="*/ 168 w 213"/>
              <a:gd name="T3" fmla="*/ 286 h 286"/>
              <a:gd name="T4" fmla="*/ 146 w 213"/>
              <a:gd name="T5" fmla="*/ 263 h 286"/>
              <a:gd name="T6" fmla="*/ 145 w 213"/>
              <a:gd name="T7" fmla="*/ 262 h 286"/>
              <a:gd name="T8" fmla="*/ 137 w 213"/>
              <a:gd name="T9" fmla="*/ 234 h 286"/>
              <a:gd name="T10" fmla="*/ 169 w 213"/>
              <a:gd name="T11" fmla="*/ 174 h 286"/>
              <a:gd name="T12" fmla="*/ 194 w 213"/>
              <a:gd name="T13" fmla="*/ 80 h 286"/>
              <a:gd name="T14" fmla="*/ 100 w 213"/>
              <a:gd name="T15" fmla="*/ 55 h 286"/>
              <a:gd name="T16" fmla="*/ 32 w 213"/>
              <a:gd name="T17" fmla="*/ 53 h 286"/>
              <a:gd name="T18" fmla="*/ 12 w 213"/>
              <a:gd name="T19" fmla="*/ 32 h 286"/>
              <a:gd name="T20" fmla="*/ 11 w 213"/>
              <a:gd name="T21" fmla="*/ 31 h 286"/>
              <a:gd name="T22" fmla="*/ 3 w 213"/>
              <a:gd name="T23" fmla="*/ 0 h 286"/>
              <a:gd name="T24" fmla="*/ 43 w 213"/>
              <a:gd name="T25" fmla="*/ 167 h 2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213" h="286">
                <a:moveTo>
                  <a:pt x="43" y="167"/>
                </a:moveTo>
                <a:cubicBezTo>
                  <a:pt x="74" y="220"/>
                  <a:pt x="118" y="260"/>
                  <a:pt x="168" y="286"/>
                </a:cubicBezTo>
                <a:cubicBezTo>
                  <a:pt x="159" y="280"/>
                  <a:pt x="152" y="273"/>
                  <a:pt x="146" y="263"/>
                </a:cubicBezTo>
                <a:cubicBezTo>
                  <a:pt x="145" y="263"/>
                  <a:pt x="145" y="262"/>
                  <a:pt x="145" y="262"/>
                </a:cubicBezTo>
                <a:cubicBezTo>
                  <a:pt x="140" y="253"/>
                  <a:pt x="137" y="244"/>
                  <a:pt x="137" y="234"/>
                </a:cubicBezTo>
                <a:cubicBezTo>
                  <a:pt x="135" y="211"/>
                  <a:pt x="147" y="187"/>
                  <a:pt x="169" y="174"/>
                </a:cubicBezTo>
                <a:cubicBezTo>
                  <a:pt x="201" y="155"/>
                  <a:pt x="213" y="113"/>
                  <a:pt x="194" y="80"/>
                </a:cubicBezTo>
                <a:cubicBezTo>
                  <a:pt x="175" y="48"/>
                  <a:pt x="133" y="36"/>
                  <a:pt x="100" y="55"/>
                </a:cubicBezTo>
                <a:cubicBezTo>
                  <a:pt x="78" y="68"/>
                  <a:pt x="52" y="66"/>
                  <a:pt x="32" y="53"/>
                </a:cubicBezTo>
                <a:cubicBezTo>
                  <a:pt x="24" y="48"/>
                  <a:pt x="17" y="41"/>
                  <a:pt x="12" y="32"/>
                </a:cubicBezTo>
                <a:cubicBezTo>
                  <a:pt x="12" y="31"/>
                  <a:pt x="12" y="31"/>
                  <a:pt x="11" y="31"/>
                </a:cubicBezTo>
                <a:cubicBezTo>
                  <a:pt x="6" y="21"/>
                  <a:pt x="3" y="10"/>
                  <a:pt x="3" y="0"/>
                </a:cubicBezTo>
                <a:cubicBezTo>
                  <a:pt x="0" y="56"/>
                  <a:pt x="13" y="115"/>
                  <a:pt x="43" y="167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57150" tIns="28575" rIns="57150" bIns="28575" numCol="1" anchor="t" anchorCtr="0" compatLnSpc="1">
            <a:prstTxWarp prst="textNoShape">
              <a:avLst/>
            </a:prstTxWarp>
          </a:bodyPr>
          <a:lstStyle/>
          <a:p>
            <a:endParaRPr lang="en-US" sz="704"/>
          </a:p>
        </p:txBody>
      </p:sp>
      <p:sp>
        <p:nvSpPr>
          <p:cNvPr id="19" name="Shape1_20180321_204814">
            <a:extLst>
              <a:ext uri="{FF2B5EF4-FFF2-40B4-BE49-F238E27FC236}">
                <a16:creationId xmlns:a16="http://schemas.microsoft.com/office/drawing/2014/main" id="{BBC87774-5422-401D-0A20-E6467DCED41B}"/>
              </a:ext>
            </a:extLst>
          </p:cNvPr>
          <p:cNvSpPr txBox="1">
            <a:spLocks/>
          </p:cNvSpPr>
          <p:nvPr/>
        </p:nvSpPr>
        <p:spPr>
          <a:xfrm>
            <a:off x="8174440" y="3511379"/>
            <a:ext cx="3204759" cy="738664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Aft>
                <a:spcPts val="0"/>
              </a:spcAft>
              <a:buNone/>
            </a:pPr>
            <a:r>
              <a:rPr lang="en-US" sz="2000" b="1" dirty="0">
                <a:solidFill>
                  <a:schemeClr val="tx1"/>
                </a:solidFill>
                <a:latin typeface="+mj-lt"/>
              </a:rPr>
              <a:t>TITLE GOES HERE</a:t>
            </a:r>
            <a:br>
              <a:rPr lang="en-US" sz="1800" b="1" dirty="0">
                <a:solidFill>
                  <a:schemeClr val="tx1"/>
                </a:solidFill>
                <a:latin typeface="+mj-lt"/>
              </a:rPr>
            </a:br>
            <a:r>
              <a:rPr lang="en-US" sz="1400" dirty="0">
                <a:solidFill>
                  <a:schemeClr val="tx1"/>
                </a:solidFill>
                <a:latin typeface="+mn-lt"/>
              </a:rPr>
              <a:t>This is a sample text. You simply add your own text and description here</a:t>
            </a:r>
          </a:p>
        </p:txBody>
      </p:sp>
      <p:sp>
        <p:nvSpPr>
          <p:cNvPr id="20" name="Shape1_20180321_204814">
            <a:extLst>
              <a:ext uri="{FF2B5EF4-FFF2-40B4-BE49-F238E27FC236}">
                <a16:creationId xmlns:a16="http://schemas.microsoft.com/office/drawing/2014/main" id="{BC9258CF-2A0C-230A-9FBD-EE686A83AD47}"/>
              </a:ext>
            </a:extLst>
          </p:cNvPr>
          <p:cNvSpPr txBox="1">
            <a:spLocks/>
          </p:cNvSpPr>
          <p:nvPr/>
        </p:nvSpPr>
        <p:spPr>
          <a:xfrm>
            <a:off x="815697" y="3511379"/>
            <a:ext cx="3204759" cy="738664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spcAft>
                <a:spcPts val="0"/>
              </a:spcAft>
              <a:buNone/>
            </a:pPr>
            <a:r>
              <a:rPr lang="en-US" sz="2000" b="1" dirty="0">
                <a:solidFill>
                  <a:schemeClr val="tx1"/>
                </a:solidFill>
                <a:latin typeface="+mj-lt"/>
              </a:rPr>
              <a:t>TITLE GOES HERE</a:t>
            </a:r>
            <a:br>
              <a:rPr lang="en-US" sz="1800" b="1" dirty="0">
                <a:solidFill>
                  <a:schemeClr val="tx1"/>
                </a:solidFill>
                <a:latin typeface="+mj-lt"/>
              </a:rPr>
            </a:br>
            <a:r>
              <a:rPr lang="en-US" sz="1400" dirty="0">
                <a:solidFill>
                  <a:schemeClr val="tx1"/>
                </a:solidFill>
                <a:latin typeface="+mn-lt"/>
              </a:rPr>
              <a:t>This is a sample text. You simply add your own text and description here</a:t>
            </a:r>
          </a:p>
        </p:txBody>
      </p:sp>
      <p:sp>
        <p:nvSpPr>
          <p:cNvPr id="21" name="Shape1_20180321_204814">
            <a:extLst>
              <a:ext uri="{FF2B5EF4-FFF2-40B4-BE49-F238E27FC236}">
                <a16:creationId xmlns:a16="http://schemas.microsoft.com/office/drawing/2014/main" id="{1060A78F-FAD6-A73C-F8A5-CAE5FED11668}"/>
              </a:ext>
            </a:extLst>
          </p:cNvPr>
          <p:cNvSpPr txBox="1">
            <a:spLocks/>
          </p:cNvSpPr>
          <p:nvPr/>
        </p:nvSpPr>
        <p:spPr>
          <a:xfrm>
            <a:off x="6984269" y="5325664"/>
            <a:ext cx="3204759" cy="738664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Aft>
                <a:spcPts val="0"/>
              </a:spcAft>
              <a:buNone/>
            </a:pPr>
            <a:r>
              <a:rPr lang="en-US" sz="2000" b="1" dirty="0">
                <a:solidFill>
                  <a:schemeClr val="tx1"/>
                </a:solidFill>
                <a:latin typeface="+mj-lt"/>
              </a:rPr>
              <a:t>TITLE GOES HERE</a:t>
            </a:r>
            <a:br>
              <a:rPr lang="en-US" sz="1800" b="1" dirty="0">
                <a:solidFill>
                  <a:schemeClr val="tx1"/>
                </a:solidFill>
                <a:latin typeface="+mj-lt"/>
              </a:rPr>
            </a:br>
            <a:r>
              <a:rPr lang="en-US" sz="1400" dirty="0">
                <a:solidFill>
                  <a:schemeClr val="tx1"/>
                </a:solidFill>
                <a:latin typeface="+mn-lt"/>
              </a:rPr>
              <a:t>This is a sample text. You simply add your own text and description here</a:t>
            </a: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91A99A60-FCE3-C266-5715-EF5B63DD123C}"/>
              </a:ext>
            </a:extLst>
          </p:cNvPr>
          <p:cNvGrpSpPr/>
          <p:nvPr/>
        </p:nvGrpSpPr>
        <p:grpSpPr>
          <a:xfrm>
            <a:off x="3951933" y="3493013"/>
            <a:ext cx="1164109" cy="1562602"/>
            <a:chOff x="3951933" y="3493013"/>
            <a:chExt cx="1164109" cy="1562602"/>
          </a:xfrm>
        </p:grpSpPr>
        <p:sp>
          <p:nvSpPr>
            <p:cNvPr id="23" name="Freeform 67">
              <a:extLst>
                <a:ext uri="{FF2B5EF4-FFF2-40B4-BE49-F238E27FC236}">
                  <a16:creationId xmlns:a16="http://schemas.microsoft.com/office/drawing/2014/main" id="{36FF72F0-A857-2529-DCDF-FD8C811BA53B}"/>
                </a:ext>
              </a:extLst>
            </p:cNvPr>
            <p:cNvSpPr>
              <a:spLocks/>
            </p:cNvSpPr>
            <p:nvPr/>
          </p:nvSpPr>
          <p:spPr bwMode="auto">
            <a:xfrm rot="19810467" flipV="1">
              <a:off x="4573751" y="4603156"/>
              <a:ext cx="226135" cy="452459"/>
            </a:xfrm>
            <a:custGeom>
              <a:avLst/>
              <a:gdLst>
                <a:gd name="T0" fmla="*/ 46 w 46"/>
                <a:gd name="T1" fmla="*/ 0 h 111"/>
                <a:gd name="T2" fmla="*/ 42 w 46"/>
                <a:gd name="T3" fmla="*/ 2 h 111"/>
                <a:gd name="T4" fmla="*/ 18 w 46"/>
                <a:gd name="T5" fmla="*/ 90 h 111"/>
                <a:gd name="T6" fmla="*/ 38 w 46"/>
                <a:gd name="T7" fmla="*/ 111 h 111"/>
                <a:gd name="T8" fmla="*/ 46 w 46"/>
                <a:gd name="T9" fmla="*/ 0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6" h="111">
                  <a:moveTo>
                    <a:pt x="46" y="0"/>
                  </a:moveTo>
                  <a:cubicBezTo>
                    <a:pt x="45" y="0"/>
                    <a:pt x="43" y="1"/>
                    <a:pt x="42" y="2"/>
                  </a:cubicBezTo>
                  <a:cubicBezTo>
                    <a:pt x="11" y="20"/>
                    <a:pt x="0" y="59"/>
                    <a:pt x="18" y="90"/>
                  </a:cubicBezTo>
                  <a:cubicBezTo>
                    <a:pt x="23" y="99"/>
                    <a:pt x="30" y="106"/>
                    <a:pt x="38" y="111"/>
                  </a:cubicBezTo>
                  <a:cubicBezTo>
                    <a:pt x="33" y="73"/>
                    <a:pt x="36" y="35"/>
                    <a:pt x="46" y="0"/>
                  </a:cubicBezTo>
                  <a:close/>
                </a:path>
              </a:pathLst>
            </a:custGeom>
            <a:solidFill>
              <a:schemeClr val="accent5">
                <a:lumMod val="50000"/>
              </a:schemeClr>
            </a:solidFill>
            <a:ln>
              <a:noFill/>
            </a:ln>
          </p:spPr>
          <p:txBody>
            <a:bodyPr vert="horz" wrap="square" lIns="57150" tIns="28575" rIns="57150" bIns="28575" numCol="1" anchor="t" anchorCtr="0" compatLnSpc="1">
              <a:prstTxWarp prst="textNoShape">
                <a:avLst/>
              </a:prstTxWarp>
            </a:bodyPr>
            <a:lstStyle/>
            <a:p>
              <a:endParaRPr lang="en-US" sz="704"/>
            </a:p>
          </p:txBody>
        </p:sp>
        <p:sp>
          <p:nvSpPr>
            <p:cNvPr id="24" name="Freeform 68">
              <a:extLst>
                <a:ext uri="{FF2B5EF4-FFF2-40B4-BE49-F238E27FC236}">
                  <a16:creationId xmlns:a16="http://schemas.microsoft.com/office/drawing/2014/main" id="{7BDCA3FA-B397-C687-10D6-2E98CDA3DBAE}"/>
                </a:ext>
              </a:extLst>
            </p:cNvPr>
            <p:cNvSpPr>
              <a:spLocks/>
            </p:cNvSpPr>
            <p:nvPr/>
          </p:nvSpPr>
          <p:spPr bwMode="auto">
            <a:xfrm rot="18036853" flipV="1">
              <a:off x="4142971" y="3527814"/>
              <a:ext cx="453686" cy="384084"/>
            </a:xfrm>
            <a:custGeom>
              <a:avLst/>
              <a:gdLst>
                <a:gd name="T0" fmla="*/ 0 w 100"/>
                <a:gd name="T1" fmla="*/ 0 h 68"/>
                <a:gd name="T2" fmla="*/ 8 w 100"/>
                <a:gd name="T3" fmla="*/ 27 h 68"/>
                <a:gd name="T4" fmla="*/ 96 w 100"/>
                <a:gd name="T5" fmla="*/ 51 h 68"/>
                <a:gd name="T6" fmla="*/ 100 w 100"/>
                <a:gd name="T7" fmla="*/ 48 h 68"/>
                <a:gd name="T8" fmla="*/ 0 w 100"/>
                <a:gd name="T9" fmla="*/ 0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" h="68">
                  <a:moveTo>
                    <a:pt x="0" y="0"/>
                  </a:moveTo>
                  <a:cubicBezTo>
                    <a:pt x="0" y="9"/>
                    <a:pt x="3" y="18"/>
                    <a:pt x="8" y="27"/>
                  </a:cubicBezTo>
                  <a:cubicBezTo>
                    <a:pt x="26" y="58"/>
                    <a:pt x="65" y="68"/>
                    <a:pt x="96" y="51"/>
                  </a:cubicBezTo>
                  <a:cubicBezTo>
                    <a:pt x="97" y="50"/>
                    <a:pt x="100" y="48"/>
                    <a:pt x="100" y="48"/>
                  </a:cubicBezTo>
                  <a:cubicBezTo>
                    <a:pt x="64" y="39"/>
                    <a:pt x="30" y="23"/>
                    <a:pt x="0" y="0"/>
                  </a:cubicBezTo>
                  <a:close/>
                </a:path>
              </a:pathLst>
            </a:custGeom>
            <a:solidFill>
              <a:schemeClr val="accent5">
                <a:lumMod val="50000"/>
              </a:schemeClr>
            </a:solidFill>
            <a:ln>
              <a:noFill/>
            </a:ln>
          </p:spPr>
          <p:txBody>
            <a:bodyPr vert="horz" wrap="square" lIns="57150" tIns="28575" rIns="57150" bIns="28575" numCol="1" anchor="t" anchorCtr="0" compatLnSpc="1">
              <a:prstTxWarp prst="textNoShape">
                <a:avLst/>
              </a:prstTxWarp>
            </a:bodyPr>
            <a:lstStyle/>
            <a:p>
              <a:endParaRPr lang="en-US" sz="704"/>
            </a:p>
          </p:txBody>
        </p:sp>
        <p:sp>
          <p:nvSpPr>
            <p:cNvPr id="25" name="Freeform 69">
              <a:extLst>
                <a:ext uri="{FF2B5EF4-FFF2-40B4-BE49-F238E27FC236}">
                  <a16:creationId xmlns:a16="http://schemas.microsoft.com/office/drawing/2014/main" id="{2C75C4B7-AA52-1F72-1527-0C21F5EDD3A5}"/>
                </a:ext>
              </a:extLst>
            </p:cNvPr>
            <p:cNvSpPr>
              <a:spLocks/>
            </p:cNvSpPr>
            <p:nvPr/>
          </p:nvSpPr>
          <p:spPr bwMode="auto">
            <a:xfrm rot="18611818" flipV="1">
              <a:off x="4100495" y="3659147"/>
              <a:ext cx="866986" cy="1164109"/>
            </a:xfrm>
            <a:custGeom>
              <a:avLst/>
              <a:gdLst>
                <a:gd name="T0" fmla="*/ 43 w 213"/>
                <a:gd name="T1" fmla="*/ 167 h 286"/>
                <a:gd name="T2" fmla="*/ 168 w 213"/>
                <a:gd name="T3" fmla="*/ 286 h 286"/>
                <a:gd name="T4" fmla="*/ 146 w 213"/>
                <a:gd name="T5" fmla="*/ 263 h 286"/>
                <a:gd name="T6" fmla="*/ 145 w 213"/>
                <a:gd name="T7" fmla="*/ 262 h 286"/>
                <a:gd name="T8" fmla="*/ 137 w 213"/>
                <a:gd name="T9" fmla="*/ 234 h 286"/>
                <a:gd name="T10" fmla="*/ 169 w 213"/>
                <a:gd name="T11" fmla="*/ 174 h 286"/>
                <a:gd name="T12" fmla="*/ 194 w 213"/>
                <a:gd name="T13" fmla="*/ 80 h 286"/>
                <a:gd name="T14" fmla="*/ 100 w 213"/>
                <a:gd name="T15" fmla="*/ 55 h 286"/>
                <a:gd name="T16" fmla="*/ 32 w 213"/>
                <a:gd name="T17" fmla="*/ 53 h 286"/>
                <a:gd name="T18" fmla="*/ 12 w 213"/>
                <a:gd name="T19" fmla="*/ 32 h 286"/>
                <a:gd name="T20" fmla="*/ 11 w 213"/>
                <a:gd name="T21" fmla="*/ 31 h 286"/>
                <a:gd name="T22" fmla="*/ 3 w 213"/>
                <a:gd name="T23" fmla="*/ 0 h 286"/>
                <a:gd name="T24" fmla="*/ 43 w 213"/>
                <a:gd name="T25" fmla="*/ 167 h 2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13" h="286">
                  <a:moveTo>
                    <a:pt x="43" y="167"/>
                  </a:moveTo>
                  <a:cubicBezTo>
                    <a:pt x="74" y="220"/>
                    <a:pt x="118" y="260"/>
                    <a:pt x="168" y="286"/>
                  </a:cubicBezTo>
                  <a:cubicBezTo>
                    <a:pt x="159" y="280"/>
                    <a:pt x="152" y="273"/>
                    <a:pt x="146" y="263"/>
                  </a:cubicBezTo>
                  <a:cubicBezTo>
                    <a:pt x="145" y="263"/>
                    <a:pt x="145" y="262"/>
                    <a:pt x="145" y="262"/>
                  </a:cubicBezTo>
                  <a:cubicBezTo>
                    <a:pt x="140" y="253"/>
                    <a:pt x="137" y="244"/>
                    <a:pt x="137" y="234"/>
                  </a:cubicBezTo>
                  <a:cubicBezTo>
                    <a:pt x="135" y="211"/>
                    <a:pt x="147" y="187"/>
                    <a:pt x="169" y="174"/>
                  </a:cubicBezTo>
                  <a:cubicBezTo>
                    <a:pt x="201" y="155"/>
                    <a:pt x="213" y="113"/>
                    <a:pt x="194" y="80"/>
                  </a:cubicBezTo>
                  <a:cubicBezTo>
                    <a:pt x="175" y="48"/>
                    <a:pt x="133" y="36"/>
                    <a:pt x="100" y="55"/>
                  </a:cubicBezTo>
                  <a:cubicBezTo>
                    <a:pt x="78" y="68"/>
                    <a:pt x="52" y="66"/>
                    <a:pt x="32" y="53"/>
                  </a:cubicBezTo>
                  <a:cubicBezTo>
                    <a:pt x="24" y="48"/>
                    <a:pt x="17" y="41"/>
                    <a:pt x="12" y="32"/>
                  </a:cubicBezTo>
                  <a:cubicBezTo>
                    <a:pt x="12" y="31"/>
                    <a:pt x="12" y="31"/>
                    <a:pt x="11" y="31"/>
                  </a:cubicBezTo>
                  <a:cubicBezTo>
                    <a:pt x="6" y="21"/>
                    <a:pt x="3" y="10"/>
                    <a:pt x="3" y="0"/>
                  </a:cubicBezTo>
                  <a:cubicBezTo>
                    <a:pt x="0" y="56"/>
                    <a:pt x="13" y="115"/>
                    <a:pt x="43" y="167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57150" tIns="28575" rIns="57150" bIns="28575" numCol="1" anchor="t" anchorCtr="0" compatLnSpc="1">
              <a:prstTxWarp prst="textNoShape">
                <a:avLst/>
              </a:prstTxWarp>
            </a:bodyPr>
            <a:lstStyle/>
            <a:p>
              <a:endParaRPr lang="en-US" sz="704"/>
            </a:p>
          </p:txBody>
        </p:sp>
        <p:grpSp>
          <p:nvGrpSpPr>
            <p:cNvPr id="26" name="ZenIcon1">
              <a:extLst>
                <a:ext uri="{FF2B5EF4-FFF2-40B4-BE49-F238E27FC236}">
                  <a16:creationId xmlns:a16="http://schemas.microsoft.com/office/drawing/2014/main" id="{52552DA1-1B53-DA2B-2622-73E08D2CC0C3}"/>
                </a:ext>
              </a:extLst>
            </p:cNvPr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>
            <a:xfrm>
              <a:off x="4437047" y="4101070"/>
              <a:ext cx="324797" cy="324797"/>
              <a:chOff x="5712408" y="975680"/>
              <a:chExt cx="671729" cy="639391"/>
            </a:xfrm>
          </p:grpSpPr>
          <p:sp>
            <p:nvSpPr>
              <p:cNvPr id="27" name="Freeform 26">
                <a:extLst>
                  <a:ext uri="{FF2B5EF4-FFF2-40B4-BE49-F238E27FC236}">
                    <a16:creationId xmlns:a16="http://schemas.microsoft.com/office/drawing/2014/main" id="{5D00CE00-D905-23E4-AF21-CDABC7D3BE5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12408" y="975680"/>
                <a:ext cx="671729" cy="639391"/>
              </a:xfrm>
              <a:custGeom>
                <a:avLst/>
                <a:gdLst>
                  <a:gd name="T0" fmla="*/ 117 w 128"/>
                  <a:gd name="T1" fmla="*/ 0 h 122"/>
                  <a:gd name="T2" fmla="*/ 11 w 128"/>
                  <a:gd name="T3" fmla="*/ 0 h 122"/>
                  <a:gd name="T4" fmla="*/ 0 w 128"/>
                  <a:gd name="T5" fmla="*/ 11 h 122"/>
                  <a:gd name="T6" fmla="*/ 0 w 128"/>
                  <a:gd name="T7" fmla="*/ 93 h 122"/>
                  <a:gd name="T8" fmla="*/ 11 w 128"/>
                  <a:gd name="T9" fmla="*/ 104 h 122"/>
                  <a:gd name="T10" fmla="*/ 43 w 128"/>
                  <a:gd name="T11" fmla="*/ 104 h 122"/>
                  <a:gd name="T12" fmla="*/ 38 w 128"/>
                  <a:gd name="T13" fmla="*/ 110 h 122"/>
                  <a:gd name="T14" fmla="*/ 35 w 128"/>
                  <a:gd name="T15" fmla="*/ 113 h 122"/>
                  <a:gd name="T16" fmla="*/ 34 w 128"/>
                  <a:gd name="T17" fmla="*/ 118 h 122"/>
                  <a:gd name="T18" fmla="*/ 42 w 128"/>
                  <a:gd name="T19" fmla="*/ 122 h 122"/>
                  <a:gd name="T20" fmla="*/ 86 w 128"/>
                  <a:gd name="T21" fmla="*/ 122 h 122"/>
                  <a:gd name="T22" fmla="*/ 94 w 128"/>
                  <a:gd name="T23" fmla="*/ 118 h 122"/>
                  <a:gd name="T24" fmla="*/ 94 w 128"/>
                  <a:gd name="T25" fmla="*/ 113 h 122"/>
                  <a:gd name="T26" fmla="*/ 91 w 128"/>
                  <a:gd name="T27" fmla="*/ 110 h 122"/>
                  <a:gd name="T28" fmla="*/ 85 w 128"/>
                  <a:gd name="T29" fmla="*/ 104 h 122"/>
                  <a:gd name="T30" fmla="*/ 117 w 128"/>
                  <a:gd name="T31" fmla="*/ 104 h 122"/>
                  <a:gd name="T32" fmla="*/ 128 w 128"/>
                  <a:gd name="T33" fmla="*/ 93 h 122"/>
                  <a:gd name="T34" fmla="*/ 128 w 128"/>
                  <a:gd name="T35" fmla="*/ 11 h 122"/>
                  <a:gd name="T36" fmla="*/ 117 w 128"/>
                  <a:gd name="T37" fmla="*/ 0 h 122"/>
                  <a:gd name="T38" fmla="*/ 88 w 128"/>
                  <a:gd name="T39" fmla="*/ 113 h 122"/>
                  <a:gd name="T40" fmla="*/ 90 w 128"/>
                  <a:gd name="T41" fmla="*/ 116 h 122"/>
                  <a:gd name="T42" fmla="*/ 90 w 128"/>
                  <a:gd name="T43" fmla="*/ 116 h 122"/>
                  <a:gd name="T44" fmla="*/ 86 w 128"/>
                  <a:gd name="T45" fmla="*/ 118 h 122"/>
                  <a:gd name="T46" fmla="*/ 42 w 128"/>
                  <a:gd name="T47" fmla="*/ 118 h 122"/>
                  <a:gd name="T48" fmla="*/ 38 w 128"/>
                  <a:gd name="T49" fmla="*/ 116 h 122"/>
                  <a:gd name="T50" fmla="*/ 38 w 128"/>
                  <a:gd name="T51" fmla="*/ 116 h 122"/>
                  <a:gd name="T52" fmla="*/ 38 w 128"/>
                  <a:gd name="T53" fmla="*/ 116 h 122"/>
                  <a:gd name="T54" fmla="*/ 40 w 128"/>
                  <a:gd name="T55" fmla="*/ 113 h 122"/>
                  <a:gd name="T56" fmla="*/ 48 w 128"/>
                  <a:gd name="T57" fmla="*/ 104 h 122"/>
                  <a:gd name="T58" fmla="*/ 80 w 128"/>
                  <a:gd name="T59" fmla="*/ 104 h 122"/>
                  <a:gd name="T60" fmla="*/ 88 w 128"/>
                  <a:gd name="T61" fmla="*/ 113 h 122"/>
                  <a:gd name="T62" fmla="*/ 120 w 128"/>
                  <a:gd name="T63" fmla="*/ 93 h 122"/>
                  <a:gd name="T64" fmla="*/ 117 w 128"/>
                  <a:gd name="T65" fmla="*/ 96 h 122"/>
                  <a:gd name="T66" fmla="*/ 11 w 128"/>
                  <a:gd name="T67" fmla="*/ 96 h 122"/>
                  <a:gd name="T68" fmla="*/ 8 w 128"/>
                  <a:gd name="T69" fmla="*/ 93 h 122"/>
                  <a:gd name="T70" fmla="*/ 8 w 128"/>
                  <a:gd name="T71" fmla="*/ 11 h 122"/>
                  <a:gd name="T72" fmla="*/ 11 w 128"/>
                  <a:gd name="T73" fmla="*/ 8 h 122"/>
                  <a:gd name="T74" fmla="*/ 117 w 128"/>
                  <a:gd name="T75" fmla="*/ 8 h 122"/>
                  <a:gd name="T76" fmla="*/ 120 w 128"/>
                  <a:gd name="T77" fmla="*/ 11 h 122"/>
                  <a:gd name="T78" fmla="*/ 120 w 128"/>
                  <a:gd name="T79" fmla="*/ 93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128" h="122">
                    <a:moveTo>
                      <a:pt x="117" y="0"/>
                    </a:moveTo>
                    <a:cubicBezTo>
                      <a:pt x="11" y="0"/>
                      <a:pt x="11" y="0"/>
                      <a:pt x="11" y="0"/>
                    </a:cubicBezTo>
                    <a:cubicBezTo>
                      <a:pt x="5" y="0"/>
                      <a:pt x="0" y="5"/>
                      <a:pt x="0" y="11"/>
                    </a:cubicBezTo>
                    <a:cubicBezTo>
                      <a:pt x="0" y="93"/>
                      <a:pt x="0" y="93"/>
                      <a:pt x="0" y="93"/>
                    </a:cubicBezTo>
                    <a:cubicBezTo>
                      <a:pt x="0" y="99"/>
                      <a:pt x="5" y="104"/>
                      <a:pt x="11" y="104"/>
                    </a:cubicBezTo>
                    <a:cubicBezTo>
                      <a:pt x="43" y="104"/>
                      <a:pt x="43" y="104"/>
                      <a:pt x="43" y="104"/>
                    </a:cubicBezTo>
                    <a:cubicBezTo>
                      <a:pt x="42" y="106"/>
                      <a:pt x="39" y="109"/>
                      <a:pt x="38" y="110"/>
                    </a:cubicBezTo>
                    <a:cubicBezTo>
                      <a:pt x="36" y="111"/>
                      <a:pt x="35" y="112"/>
                      <a:pt x="35" y="113"/>
                    </a:cubicBezTo>
                    <a:cubicBezTo>
                      <a:pt x="34" y="114"/>
                      <a:pt x="33" y="116"/>
                      <a:pt x="34" y="118"/>
                    </a:cubicBezTo>
                    <a:cubicBezTo>
                      <a:pt x="35" y="120"/>
                      <a:pt x="37" y="122"/>
                      <a:pt x="42" y="122"/>
                    </a:cubicBezTo>
                    <a:cubicBezTo>
                      <a:pt x="86" y="122"/>
                      <a:pt x="86" y="122"/>
                      <a:pt x="86" y="122"/>
                    </a:cubicBezTo>
                    <a:cubicBezTo>
                      <a:pt x="91" y="122"/>
                      <a:pt x="93" y="120"/>
                      <a:pt x="94" y="118"/>
                    </a:cubicBezTo>
                    <a:cubicBezTo>
                      <a:pt x="95" y="116"/>
                      <a:pt x="95" y="114"/>
                      <a:pt x="94" y="113"/>
                    </a:cubicBezTo>
                    <a:cubicBezTo>
                      <a:pt x="93" y="112"/>
                      <a:pt x="92" y="111"/>
                      <a:pt x="91" y="110"/>
                    </a:cubicBezTo>
                    <a:cubicBezTo>
                      <a:pt x="89" y="109"/>
                      <a:pt x="87" y="106"/>
                      <a:pt x="85" y="104"/>
                    </a:cubicBezTo>
                    <a:cubicBezTo>
                      <a:pt x="117" y="104"/>
                      <a:pt x="117" y="104"/>
                      <a:pt x="117" y="104"/>
                    </a:cubicBezTo>
                    <a:cubicBezTo>
                      <a:pt x="123" y="104"/>
                      <a:pt x="128" y="99"/>
                      <a:pt x="128" y="93"/>
                    </a:cubicBezTo>
                    <a:cubicBezTo>
                      <a:pt x="128" y="11"/>
                      <a:pt x="128" y="11"/>
                      <a:pt x="128" y="11"/>
                    </a:cubicBezTo>
                    <a:cubicBezTo>
                      <a:pt x="128" y="5"/>
                      <a:pt x="123" y="0"/>
                      <a:pt x="117" y="0"/>
                    </a:cubicBezTo>
                    <a:close/>
                    <a:moveTo>
                      <a:pt x="88" y="113"/>
                    </a:moveTo>
                    <a:cubicBezTo>
                      <a:pt x="89" y="114"/>
                      <a:pt x="90" y="115"/>
                      <a:pt x="90" y="116"/>
                    </a:cubicBezTo>
                    <a:cubicBezTo>
                      <a:pt x="90" y="116"/>
                      <a:pt x="91" y="116"/>
                      <a:pt x="90" y="116"/>
                    </a:cubicBezTo>
                    <a:cubicBezTo>
                      <a:pt x="90" y="117"/>
                      <a:pt x="88" y="118"/>
                      <a:pt x="86" y="118"/>
                    </a:cubicBezTo>
                    <a:cubicBezTo>
                      <a:pt x="42" y="118"/>
                      <a:pt x="42" y="118"/>
                      <a:pt x="42" y="118"/>
                    </a:cubicBezTo>
                    <a:cubicBezTo>
                      <a:pt x="40" y="118"/>
                      <a:pt x="38" y="117"/>
                      <a:pt x="38" y="116"/>
                    </a:cubicBezTo>
                    <a:cubicBezTo>
                      <a:pt x="38" y="116"/>
                      <a:pt x="38" y="116"/>
                      <a:pt x="38" y="116"/>
                    </a:cubicBezTo>
                    <a:cubicBezTo>
                      <a:pt x="38" y="116"/>
                      <a:pt x="38" y="116"/>
                      <a:pt x="38" y="116"/>
                    </a:cubicBezTo>
                    <a:cubicBezTo>
                      <a:pt x="38" y="115"/>
                      <a:pt x="39" y="114"/>
                      <a:pt x="40" y="113"/>
                    </a:cubicBezTo>
                    <a:cubicBezTo>
                      <a:pt x="44" y="109"/>
                      <a:pt x="47" y="106"/>
                      <a:pt x="48" y="104"/>
                    </a:cubicBezTo>
                    <a:cubicBezTo>
                      <a:pt x="80" y="104"/>
                      <a:pt x="80" y="104"/>
                      <a:pt x="80" y="104"/>
                    </a:cubicBezTo>
                    <a:cubicBezTo>
                      <a:pt x="82" y="106"/>
                      <a:pt x="84" y="109"/>
                      <a:pt x="88" y="113"/>
                    </a:cubicBezTo>
                    <a:close/>
                    <a:moveTo>
                      <a:pt x="120" y="93"/>
                    </a:moveTo>
                    <a:cubicBezTo>
                      <a:pt x="120" y="95"/>
                      <a:pt x="119" y="96"/>
                      <a:pt x="117" y="96"/>
                    </a:cubicBezTo>
                    <a:cubicBezTo>
                      <a:pt x="11" y="96"/>
                      <a:pt x="11" y="96"/>
                      <a:pt x="11" y="96"/>
                    </a:cubicBezTo>
                    <a:cubicBezTo>
                      <a:pt x="9" y="96"/>
                      <a:pt x="8" y="95"/>
                      <a:pt x="8" y="93"/>
                    </a:cubicBezTo>
                    <a:cubicBezTo>
                      <a:pt x="8" y="11"/>
                      <a:pt x="8" y="11"/>
                      <a:pt x="8" y="11"/>
                    </a:cubicBezTo>
                    <a:cubicBezTo>
                      <a:pt x="8" y="9"/>
                      <a:pt x="9" y="8"/>
                      <a:pt x="11" y="8"/>
                    </a:cubicBezTo>
                    <a:cubicBezTo>
                      <a:pt x="117" y="8"/>
                      <a:pt x="117" y="8"/>
                      <a:pt x="117" y="8"/>
                    </a:cubicBezTo>
                    <a:cubicBezTo>
                      <a:pt x="119" y="8"/>
                      <a:pt x="120" y="9"/>
                      <a:pt x="120" y="11"/>
                    </a:cubicBezTo>
                    <a:lnTo>
                      <a:pt x="120" y="93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840" dirty="0">
                  <a:solidFill>
                    <a:schemeClr val="bg1"/>
                  </a:solidFill>
                  <a:latin typeface="Lato Light"/>
                </a:endParaRPr>
              </a:p>
            </p:txBody>
          </p:sp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0540AC80-CE85-4415-3B99-D76B34295D0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96917" y="1058042"/>
                <a:ext cx="502713" cy="338119"/>
              </a:xfrm>
              <a:custGeom>
                <a:avLst/>
                <a:gdLst>
                  <a:gd name="T0" fmla="*/ 89 w 96"/>
                  <a:gd name="T1" fmla="*/ 0 h 64"/>
                  <a:gd name="T2" fmla="*/ 7 w 96"/>
                  <a:gd name="T3" fmla="*/ 0 h 64"/>
                  <a:gd name="T4" fmla="*/ 0 w 96"/>
                  <a:gd name="T5" fmla="*/ 7 h 64"/>
                  <a:gd name="T6" fmla="*/ 0 w 96"/>
                  <a:gd name="T7" fmla="*/ 57 h 64"/>
                  <a:gd name="T8" fmla="*/ 7 w 96"/>
                  <a:gd name="T9" fmla="*/ 64 h 64"/>
                  <a:gd name="T10" fmla="*/ 89 w 96"/>
                  <a:gd name="T11" fmla="*/ 64 h 64"/>
                  <a:gd name="T12" fmla="*/ 96 w 96"/>
                  <a:gd name="T13" fmla="*/ 57 h 64"/>
                  <a:gd name="T14" fmla="*/ 96 w 96"/>
                  <a:gd name="T15" fmla="*/ 7 h 64"/>
                  <a:gd name="T16" fmla="*/ 89 w 96"/>
                  <a:gd name="T17" fmla="*/ 0 h 64"/>
                  <a:gd name="T18" fmla="*/ 92 w 96"/>
                  <a:gd name="T19" fmla="*/ 57 h 64"/>
                  <a:gd name="T20" fmla="*/ 89 w 96"/>
                  <a:gd name="T21" fmla="*/ 60 h 64"/>
                  <a:gd name="T22" fmla="*/ 7 w 96"/>
                  <a:gd name="T23" fmla="*/ 60 h 64"/>
                  <a:gd name="T24" fmla="*/ 4 w 96"/>
                  <a:gd name="T25" fmla="*/ 57 h 64"/>
                  <a:gd name="T26" fmla="*/ 4 w 96"/>
                  <a:gd name="T27" fmla="*/ 7 h 64"/>
                  <a:gd name="T28" fmla="*/ 7 w 96"/>
                  <a:gd name="T29" fmla="*/ 4 h 64"/>
                  <a:gd name="T30" fmla="*/ 89 w 96"/>
                  <a:gd name="T31" fmla="*/ 4 h 64"/>
                  <a:gd name="T32" fmla="*/ 92 w 96"/>
                  <a:gd name="T33" fmla="*/ 7 h 64"/>
                  <a:gd name="T34" fmla="*/ 92 w 96"/>
                  <a:gd name="T35" fmla="*/ 57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96" h="64">
                    <a:moveTo>
                      <a:pt x="89" y="0"/>
                    </a:moveTo>
                    <a:cubicBezTo>
                      <a:pt x="7" y="0"/>
                      <a:pt x="7" y="0"/>
                      <a:pt x="7" y="0"/>
                    </a:cubicBezTo>
                    <a:cubicBezTo>
                      <a:pt x="3" y="0"/>
                      <a:pt x="0" y="3"/>
                      <a:pt x="0" y="7"/>
                    </a:cubicBezTo>
                    <a:cubicBezTo>
                      <a:pt x="0" y="57"/>
                      <a:pt x="0" y="57"/>
                      <a:pt x="0" y="57"/>
                    </a:cubicBezTo>
                    <a:cubicBezTo>
                      <a:pt x="0" y="61"/>
                      <a:pt x="3" y="64"/>
                      <a:pt x="7" y="64"/>
                    </a:cubicBezTo>
                    <a:cubicBezTo>
                      <a:pt x="89" y="64"/>
                      <a:pt x="89" y="64"/>
                      <a:pt x="89" y="64"/>
                    </a:cubicBezTo>
                    <a:cubicBezTo>
                      <a:pt x="93" y="64"/>
                      <a:pt x="96" y="61"/>
                      <a:pt x="96" y="57"/>
                    </a:cubicBezTo>
                    <a:cubicBezTo>
                      <a:pt x="96" y="7"/>
                      <a:pt x="96" y="7"/>
                      <a:pt x="96" y="7"/>
                    </a:cubicBezTo>
                    <a:cubicBezTo>
                      <a:pt x="96" y="3"/>
                      <a:pt x="93" y="0"/>
                      <a:pt x="89" y="0"/>
                    </a:cubicBezTo>
                    <a:close/>
                    <a:moveTo>
                      <a:pt x="92" y="57"/>
                    </a:moveTo>
                    <a:cubicBezTo>
                      <a:pt x="92" y="59"/>
                      <a:pt x="91" y="60"/>
                      <a:pt x="89" y="60"/>
                    </a:cubicBezTo>
                    <a:cubicBezTo>
                      <a:pt x="7" y="60"/>
                      <a:pt x="7" y="60"/>
                      <a:pt x="7" y="60"/>
                    </a:cubicBezTo>
                    <a:cubicBezTo>
                      <a:pt x="5" y="60"/>
                      <a:pt x="4" y="59"/>
                      <a:pt x="4" y="57"/>
                    </a:cubicBezTo>
                    <a:cubicBezTo>
                      <a:pt x="4" y="7"/>
                      <a:pt x="4" y="7"/>
                      <a:pt x="4" y="7"/>
                    </a:cubicBezTo>
                    <a:cubicBezTo>
                      <a:pt x="4" y="5"/>
                      <a:pt x="5" y="4"/>
                      <a:pt x="7" y="4"/>
                    </a:cubicBezTo>
                    <a:cubicBezTo>
                      <a:pt x="89" y="4"/>
                      <a:pt x="89" y="4"/>
                      <a:pt x="89" y="4"/>
                    </a:cubicBezTo>
                    <a:cubicBezTo>
                      <a:pt x="91" y="4"/>
                      <a:pt x="92" y="5"/>
                      <a:pt x="92" y="7"/>
                    </a:cubicBezTo>
                    <a:lnTo>
                      <a:pt x="92" y="57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840" dirty="0">
                  <a:solidFill>
                    <a:schemeClr val="bg1"/>
                  </a:solidFill>
                  <a:latin typeface="Lato Light"/>
                </a:endParaRPr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97CD4551-DC15-068E-973F-88FBAEEC112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017937" y="1404831"/>
                <a:ext cx="62840" cy="65023"/>
              </a:xfrm>
              <a:custGeom>
                <a:avLst/>
                <a:gdLst>
                  <a:gd name="T0" fmla="*/ 6 w 12"/>
                  <a:gd name="T1" fmla="*/ 0 h 12"/>
                  <a:gd name="T2" fmla="*/ 0 w 12"/>
                  <a:gd name="T3" fmla="*/ 6 h 12"/>
                  <a:gd name="T4" fmla="*/ 6 w 12"/>
                  <a:gd name="T5" fmla="*/ 12 h 12"/>
                  <a:gd name="T6" fmla="*/ 12 w 12"/>
                  <a:gd name="T7" fmla="*/ 6 h 12"/>
                  <a:gd name="T8" fmla="*/ 6 w 12"/>
                  <a:gd name="T9" fmla="*/ 0 h 12"/>
                  <a:gd name="T10" fmla="*/ 6 w 12"/>
                  <a:gd name="T11" fmla="*/ 8 h 12"/>
                  <a:gd name="T12" fmla="*/ 4 w 12"/>
                  <a:gd name="T13" fmla="*/ 6 h 12"/>
                  <a:gd name="T14" fmla="*/ 6 w 12"/>
                  <a:gd name="T15" fmla="*/ 4 h 12"/>
                  <a:gd name="T16" fmla="*/ 8 w 12"/>
                  <a:gd name="T17" fmla="*/ 6 h 12"/>
                  <a:gd name="T18" fmla="*/ 6 w 12"/>
                  <a:gd name="T19" fmla="*/ 8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cubicBezTo>
                      <a:pt x="3" y="0"/>
                      <a:pt x="0" y="3"/>
                      <a:pt x="0" y="6"/>
                    </a:cubicBezTo>
                    <a:cubicBezTo>
                      <a:pt x="0" y="9"/>
                      <a:pt x="3" y="12"/>
                      <a:pt x="6" y="12"/>
                    </a:cubicBezTo>
                    <a:cubicBezTo>
                      <a:pt x="9" y="12"/>
                      <a:pt x="12" y="9"/>
                      <a:pt x="12" y="6"/>
                    </a:cubicBezTo>
                    <a:cubicBezTo>
                      <a:pt x="12" y="3"/>
                      <a:pt x="9" y="0"/>
                      <a:pt x="6" y="0"/>
                    </a:cubicBezTo>
                    <a:close/>
                    <a:moveTo>
                      <a:pt x="6" y="8"/>
                    </a:moveTo>
                    <a:cubicBezTo>
                      <a:pt x="5" y="8"/>
                      <a:pt x="4" y="7"/>
                      <a:pt x="4" y="6"/>
                    </a:cubicBezTo>
                    <a:cubicBezTo>
                      <a:pt x="4" y="5"/>
                      <a:pt x="5" y="4"/>
                      <a:pt x="6" y="4"/>
                    </a:cubicBezTo>
                    <a:cubicBezTo>
                      <a:pt x="7" y="4"/>
                      <a:pt x="8" y="5"/>
                      <a:pt x="8" y="6"/>
                    </a:cubicBezTo>
                    <a:cubicBezTo>
                      <a:pt x="8" y="7"/>
                      <a:pt x="7" y="8"/>
                      <a:pt x="6" y="8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840" dirty="0">
                  <a:solidFill>
                    <a:schemeClr val="bg1"/>
                  </a:solidFill>
                  <a:latin typeface="Lato Light"/>
                </a:endParaRPr>
              </a:p>
            </p:txBody>
          </p:sp>
          <p:sp>
            <p:nvSpPr>
              <p:cNvPr id="30" name="Freeform 29">
                <a:extLst>
                  <a:ext uri="{FF2B5EF4-FFF2-40B4-BE49-F238E27FC236}">
                    <a16:creationId xmlns:a16="http://schemas.microsoft.com/office/drawing/2014/main" id="{71647A00-5971-AB0F-54B5-B2C9B643F17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33429" y="1190255"/>
                <a:ext cx="84509" cy="88864"/>
              </a:xfrm>
              <a:custGeom>
                <a:avLst/>
                <a:gdLst>
                  <a:gd name="T0" fmla="*/ 0 w 39"/>
                  <a:gd name="T1" fmla="*/ 24 h 41"/>
                  <a:gd name="T2" fmla="*/ 39 w 39"/>
                  <a:gd name="T3" fmla="*/ 41 h 41"/>
                  <a:gd name="T4" fmla="*/ 39 w 39"/>
                  <a:gd name="T5" fmla="*/ 32 h 41"/>
                  <a:gd name="T6" fmla="*/ 12 w 39"/>
                  <a:gd name="T7" fmla="*/ 19 h 41"/>
                  <a:gd name="T8" fmla="*/ 39 w 39"/>
                  <a:gd name="T9" fmla="*/ 10 h 41"/>
                  <a:gd name="T10" fmla="*/ 39 w 39"/>
                  <a:gd name="T11" fmla="*/ 0 h 41"/>
                  <a:gd name="T12" fmla="*/ 0 w 39"/>
                  <a:gd name="T13" fmla="*/ 17 h 41"/>
                  <a:gd name="T14" fmla="*/ 0 w 39"/>
                  <a:gd name="T15" fmla="*/ 24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9" h="41">
                    <a:moveTo>
                      <a:pt x="0" y="24"/>
                    </a:moveTo>
                    <a:lnTo>
                      <a:pt x="39" y="41"/>
                    </a:lnTo>
                    <a:lnTo>
                      <a:pt x="39" y="32"/>
                    </a:lnTo>
                    <a:lnTo>
                      <a:pt x="12" y="19"/>
                    </a:lnTo>
                    <a:lnTo>
                      <a:pt x="39" y="10"/>
                    </a:lnTo>
                    <a:lnTo>
                      <a:pt x="39" y="0"/>
                    </a:lnTo>
                    <a:lnTo>
                      <a:pt x="0" y="17"/>
                    </a:lnTo>
                    <a:lnTo>
                      <a:pt x="0" y="24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840" dirty="0">
                  <a:solidFill>
                    <a:schemeClr val="bg1"/>
                  </a:solidFill>
                  <a:latin typeface="Lato Light"/>
                </a:endParaRPr>
              </a:p>
            </p:txBody>
          </p:sp>
          <p:sp>
            <p:nvSpPr>
              <p:cNvPr id="31" name="Freeform 30">
                <a:extLst>
                  <a:ext uri="{FF2B5EF4-FFF2-40B4-BE49-F238E27FC236}">
                    <a16:creationId xmlns:a16="http://schemas.microsoft.com/office/drawing/2014/main" id="{DEA14C6B-49FD-C2FD-7661-99290D99900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26605" y="1175084"/>
                <a:ext cx="43337" cy="119208"/>
              </a:xfrm>
              <a:custGeom>
                <a:avLst/>
                <a:gdLst>
                  <a:gd name="T0" fmla="*/ 7 w 8"/>
                  <a:gd name="T1" fmla="*/ 0 h 23"/>
                  <a:gd name="T2" fmla="*/ 5 w 8"/>
                  <a:gd name="T3" fmla="*/ 0 h 23"/>
                  <a:gd name="T4" fmla="*/ 5 w 8"/>
                  <a:gd name="T5" fmla="*/ 2 h 23"/>
                  <a:gd name="T6" fmla="*/ 0 w 8"/>
                  <a:gd name="T7" fmla="*/ 20 h 23"/>
                  <a:gd name="T8" fmla="*/ 0 w 8"/>
                  <a:gd name="T9" fmla="*/ 22 h 23"/>
                  <a:gd name="T10" fmla="*/ 2 w 8"/>
                  <a:gd name="T11" fmla="*/ 23 h 23"/>
                  <a:gd name="T12" fmla="*/ 3 w 8"/>
                  <a:gd name="T13" fmla="*/ 23 h 23"/>
                  <a:gd name="T14" fmla="*/ 3 w 8"/>
                  <a:gd name="T15" fmla="*/ 22 h 23"/>
                  <a:gd name="T16" fmla="*/ 4 w 8"/>
                  <a:gd name="T17" fmla="*/ 21 h 23"/>
                  <a:gd name="T18" fmla="*/ 8 w 8"/>
                  <a:gd name="T19" fmla="*/ 3 h 23"/>
                  <a:gd name="T20" fmla="*/ 8 w 8"/>
                  <a:gd name="T21" fmla="*/ 1 h 23"/>
                  <a:gd name="T22" fmla="*/ 8 w 8"/>
                  <a:gd name="T23" fmla="*/ 0 h 23"/>
                  <a:gd name="T24" fmla="*/ 7 w 8"/>
                  <a:gd name="T25" fmla="*/ 0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8" h="23">
                    <a:moveTo>
                      <a:pt x="7" y="0"/>
                    </a:moveTo>
                    <a:cubicBezTo>
                      <a:pt x="6" y="0"/>
                      <a:pt x="6" y="0"/>
                      <a:pt x="5" y="0"/>
                    </a:cubicBezTo>
                    <a:cubicBezTo>
                      <a:pt x="5" y="0"/>
                      <a:pt x="5" y="1"/>
                      <a:pt x="5" y="2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21"/>
                      <a:pt x="0" y="22"/>
                      <a:pt x="0" y="22"/>
                    </a:cubicBezTo>
                    <a:cubicBezTo>
                      <a:pt x="0" y="23"/>
                      <a:pt x="1" y="23"/>
                      <a:pt x="2" y="23"/>
                    </a:cubicBezTo>
                    <a:cubicBezTo>
                      <a:pt x="2" y="23"/>
                      <a:pt x="2" y="23"/>
                      <a:pt x="3" y="23"/>
                    </a:cubicBezTo>
                    <a:cubicBezTo>
                      <a:pt x="3" y="23"/>
                      <a:pt x="3" y="22"/>
                      <a:pt x="3" y="22"/>
                    </a:cubicBezTo>
                    <a:cubicBezTo>
                      <a:pt x="3" y="22"/>
                      <a:pt x="3" y="21"/>
                      <a:pt x="4" y="21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2"/>
                      <a:pt x="8" y="1"/>
                      <a:pt x="8" y="1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8" y="0"/>
                      <a:pt x="7" y="0"/>
                      <a:pt x="7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840" dirty="0">
                  <a:solidFill>
                    <a:schemeClr val="bg1"/>
                  </a:solidFill>
                  <a:latin typeface="Lato Light"/>
                </a:endParaRPr>
              </a:p>
            </p:txBody>
          </p:sp>
          <p:sp>
            <p:nvSpPr>
              <p:cNvPr id="32" name="Freeform 31">
                <a:extLst>
                  <a:ext uri="{FF2B5EF4-FFF2-40B4-BE49-F238E27FC236}">
                    <a16:creationId xmlns:a16="http://schemas.microsoft.com/office/drawing/2014/main" id="{69682CFE-A588-E970-ECEF-6B00114D770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80776" y="1190255"/>
                <a:ext cx="82341" cy="88864"/>
              </a:xfrm>
              <a:custGeom>
                <a:avLst/>
                <a:gdLst>
                  <a:gd name="T0" fmla="*/ 0 w 38"/>
                  <a:gd name="T1" fmla="*/ 10 h 41"/>
                  <a:gd name="T2" fmla="*/ 26 w 38"/>
                  <a:gd name="T3" fmla="*/ 19 h 41"/>
                  <a:gd name="T4" fmla="*/ 0 w 38"/>
                  <a:gd name="T5" fmla="*/ 32 h 41"/>
                  <a:gd name="T6" fmla="*/ 0 w 38"/>
                  <a:gd name="T7" fmla="*/ 41 h 41"/>
                  <a:gd name="T8" fmla="*/ 38 w 38"/>
                  <a:gd name="T9" fmla="*/ 24 h 41"/>
                  <a:gd name="T10" fmla="*/ 38 w 38"/>
                  <a:gd name="T11" fmla="*/ 17 h 41"/>
                  <a:gd name="T12" fmla="*/ 0 w 38"/>
                  <a:gd name="T13" fmla="*/ 0 h 41"/>
                  <a:gd name="T14" fmla="*/ 0 w 38"/>
                  <a:gd name="T15" fmla="*/ 10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8" h="41">
                    <a:moveTo>
                      <a:pt x="0" y="10"/>
                    </a:moveTo>
                    <a:lnTo>
                      <a:pt x="26" y="19"/>
                    </a:lnTo>
                    <a:lnTo>
                      <a:pt x="0" y="32"/>
                    </a:lnTo>
                    <a:lnTo>
                      <a:pt x="0" y="41"/>
                    </a:lnTo>
                    <a:lnTo>
                      <a:pt x="38" y="24"/>
                    </a:lnTo>
                    <a:lnTo>
                      <a:pt x="38" y="17"/>
                    </a:lnTo>
                    <a:lnTo>
                      <a:pt x="0" y="0"/>
                    </a:lnTo>
                    <a:lnTo>
                      <a:pt x="0" y="1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840" dirty="0">
                  <a:solidFill>
                    <a:schemeClr val="bg1"/>
                  </a:solidFill>
                  <a:latin typeface="Lato Light"/>
                </a:endParaRPr>
              </a:p>
            </p:txBody>
          </p:sp>
        </p:grpSp>
      </p:grpSp>
      <p:sp>
        <p:nvSpPr>
          <p:cNvPr id="33" name="ZenIcon2">
            <a:extLst>
              <a:ext uri="{FF2B5EF4-FFF2-40B4-BE49-F238E27FC236}">
                <a16:creationId xmlns:a16="http://schemas.microsoft.com/office/drawing/2014/main" id="{12DA6478-30DD-AA61-F7AB-0204BCF683C5}"/>
              </a:ext>
            </a:extLst>
          </p:cNvPr>
          <p:cNvSpPr>
            <a:spLocks noChangeAspect="1" noEditPoints="1"/>
          </p:cNvSpPr>
          <p:nvPr>
            <p:custDataLst>
              <p:tags r:id="rId2"/>
            </p:custDataLst>
          </p:nvPr>
        </p:nvSpPr>
        <p:spPr bwMode="auto">
          <a:xfrm>
            <a:off x="5013807" y="2288692"/>
            <a:ext cx="324797" cy="324797"/>
          </a:xfrm>
          <a:custGeom>
            <a:avLst/>
            <a:gdLst>
              <a:gd name="T0" fmla="*/ 232 w 256"/>
              <a:gd name="T1" fmla="*/ 84 h 227"/>
              <a:gd name="T2" fmla="*/ 172 w 256"/>
              <a:gd name="T3" fmla="*/ 44 h 227"/>
              <a:gd name="T4" fmla="*/ 120 w 256"/>
              <a:gd name="T5" fmla="*/ 48 h 227"/>
              <a:gd name="T6" fmla="*/ 64 w 256"/>
              <a:gd name="T7" fmla="*/ 107 h 227"/>
              <a:gd name="T8" fmla="*/ 0 w 256"/>
              <a:gd name="T9" fmla="*/ 131 h 227"/>
              <a:gd name="T10" fmla="*/ 32 w 256"/>
              <a:gd name="T11" fmla="*/ 227 h 227"/>
              <a:gd name="T12" fmla="*/ 87 w 256"/>
              <a:gd name="T13" fmla="*/ 212 h 227"/>
              <a:gd name="T14" fmla="*/ 103 w 256"/>
              <a:gd name="T15" fmla="*/ 219 h 227"/>
              <a:gd name="T16" fmla="*/ 232 w 256"/>
              <a:gd name="T17" fmla="*/ 197 h 227"/>
              <a:gd name="T18" fmla="*/ 240 w 256"/>
              <a:gd name="T19" fmla="*/ 169 h 227"/>
              <a:gd name="T20" fmla="*/ 248 w 256"/>
              <a:gd name="T21" fmla="*/ 140 h 227"/>
              <a:gd name="T22" fmla="*/ 256 w 256"/>
              <a:gd name="T23" fmla="*/ 108 h 227"/>
              <a:gd name="T24" fmla="*/ 32 w 256"/>
              <a:gd name="T25" fmla="*/ 211 h 227"/>
              <a:gd name="T26" fmla="*/ 16 w 256"/>
              <a:gd name="T27" fmla="*/ 131 h 227"/>
              <a:gd name="T28" fmla="*/ 64 w 256"/>
              <a:gd name="T29" fmla="*/ 123 h 227"/>
              <a:gd name="T30" fmla="*/ 72 w 256"/>
              <a:gd name="T31" fmla="*/ 198 h 227"/>
              <a:gd name="T32" fmla="*/ 72 w 256"/>
              <a:gd name="T33" fmla="*/ 203 h 227"/>
              <a:gd name="T34" fmla="*/ 210 w 256"/>
              <a:gd name="T35" fmla="*/ 203 h 227"/>
              <a:gd name="T36" fmla="*/ 88 w 256"/>
              <a:gd name="T37" fmla="*/ 194 h 227"/>
              <a:gd name="T38" fmla="*/ 86 w 256"/>
              <a:gd name="T39" fmla="*/ 121 h 227"/>
              <a:gd name="T40" fmla="*/ 140 w 256"/>
              <a:gd name="T41" fmla="*/ 16 h 227"/>
              <a:gd name="T42" fmla="*/ 152 w 256"/>
              <a:gd name="T43" fmla="*/ 90 h 227"/>
              <a:gd name="T44" fmla="*/ 160 w 256"/>
              <a:gd name="T45" fmla="*/ 100 h 227"/>
              <a:gd name="T46" fmla="*/ 240 w 256"/>
              <a:gd name="T47" fmla="*/ 108 h 227"/>
              <a:gd name="T48" fmla="*/ 223 w 256"/>
              <a:gd name="T49" fmla="*/ 116 h 227"/>
              <a:gd name="T50" fmla="*/ 223 w 256"/>
              <a:gd name="T51" fmla="*/ 132 h 227"/>
              <a:gd name="T52" fmla="*/ 224 w 256"/>
              <a:gd name="T53" fmla="*/ 132 h 227"/>
              <a:gd name="T54" fmla="*/ 224 w 256"/>
              <a:gd name="T55" fmla="*/ 148 h 227"/>
              <a:gd name="T56" fmla="*/ 218 w 256"/>
              <a:gd name="T57" fmla="*/ 147 h 227"/>
              <a:gd name="T58" fmla="*/ 215 w 256"/>
              <a:gd name="T59" fmla="*/ 148 h 227"/>
              <a:gd name="T60" fmla="*/ 215 w 256"/>
              <a:gd name="T61" fmla="*/ 164 h 227"/>
              <a:gd name="T62" fmla="*/ 224 w 256"/>
              <a:gd name="T63" fmla="*/ 169 h 227"/>
              <a:gd name="T64" fmla="*/ 210 w 256"/>
              <a:gd name="T65" fmla="*/ 175 h 227"/>
              <a:gd name="T66" fmla="*/ 210 w 256"/>
              <a:gd name="T67" fmla="*/ 175 h 227"/>
              <a:gd name="T68" fmla="*/ 210 w 256"/>
              <a:gd name="T69" fmla="*/ 191 h 227"/>
              <a:gd name="T70" fmla="*/ 210 w 256"/>
              <a:gd name="T71" fmla="*/ 203 h 2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256" h="227">
                <a:moveTo>
                  <a:pt x="256" y="108"/>
                </a:moveTo>
                <a:cubicBezTo>
                  <a:pt x="256" y="94"/>
                  <a:pt x="245" y="84"/>
                  <a:pt x="232" y="84"/>
                </a:cubicBezTo>
                <a:cubicBezTo>
                  <a:pt x="169" y="84"/>
                  <a:pt x="169" y="84"/>
                  <a:pt x="169" y="84"/>
                </a:cubicBezTo>
                <a:cubicBezTo>
                  <a:pt x="171" y="74"/>
                  <a:pt x="172" y="59"/>
                  <a:pt x="172" y="44"/>
                </a:cubicBezTo>
                <a:cubicBezTo>
                  <a:pt x="172" y="13"/>
                  <a:pt x="156" y="0"/>
                  <a:pt x="140" y="0"/>
                </a:cubicBezTo>
                <a:cubicBezTo>
                  <a:pt x="120" y="0"/>
                  <a:pt x="120" y="21"/>
                  <a:pt x="120" y="48"/>
                </a:cubicBezTo>
                <a:cubicBezTo>
                  <a:pt x="120" y="67"/>
                  <a:pt x="90" y="97"/>
                  <a:pt x="75" y="110"/>
                </a:cubicBezTo>
                <a:cubicBezTo>
                  <a:pt x="71" y="108"/>
                  <a:pt x="68" y="107"/>
                  <a:pt x="64" y="107"/>
                </a:cubicBezTo>
                <a:cubicBezTo>
                  <a:pt x="24" y="107"/>
                  <a:pt x="24" y="107"/>
                  <a:pt x="24" y="107"/>
                </a:cubicBezTo>
                <a:cubicBezTo>
                  <a:pt x="11" y="107"/>
                  <a:pt x="0" y="118"/>
                  <a:pt x="0" y="131"/>
                </a:cubicBezTo>
                <a:cubicBezTo>
                  <a:pt x="8" y="203"/>
                  <a:pt x="8" y="203"/>
                  <a:pt x="8" y="203"/>
                </a:cubicBezTo>
                <a:cubicBezTo>
                  <a:pt x="10" y="216"/>
                  <a:pt x="19" y="227"/>
                  <a:pt x="32" y="227"/>
                </a:cubicBezTo>
                <a:cubicBezTo>
                  <a:pt x="64" y="227"/>
                  <a:pt x="64" y="227"/>
                  <a:pt x="64" y="227"/>
                </a:cubicBezTo>
                <a:cubicBezTo>
                  <a:pt x="74" y="227"/>
                  <a:pt x="83" y="221"/>
                  <a:pt x="87" y="212"/>
                </a:cubicBezTo>
                <a:cubicBezTo>
                  <a:pt x="100" y="219"/>
                  <a:pt x="100" y="219"/>
                  <a:pt x="100" y="219"/>
                </a:cubicBezTo>
                <a:cubicBezTo>
                  <a:pt x="101" y="219"/>
                  <a:pt x="102" y="219"/>
                  <a:pt x="103" y="219"/>
                </a:cubicBezTo>
                <a:cubicBezTo>
                  <a:pt x="210" y="219"/>
                  <a:pt x="210" y="219"/>
                  <a:pt x="210" y="219"/>
                </a:cubicBezTo>
                <a:cubicBezTo>
                  <a:pt x="222" y="219"/>
                  <a:pt x="232" y="210"/>
                  <a:pt x="232" y="197"/>
                </a:cubicBezTo>
                <a:cubicBezTo>
                  <a:pt x="232" y="194"/>
                  <a:pt x="231" y="191"/>
                  <a:pt x="230" y="188"/>
                </a:cubicBezTo>
                <a:cubicBezTo>
                  <a:pt x="236" y="184"/>
                  <a:pt x="240" y="177"/>
                  <a:pt x="240" y="169"/>
                </a:cubicBezTo>
                <a:cubicBezTo>
                  <a:pt x="240" y="166"/>
                  <a:pt x="239" y="162"/>
                  <a:pt x="238" y="159"/>
                </a:cubicBezTo>
                <a:cubicBezTo>
                  <a:pt x="244" y="155"/>
                  <a:pt x="248" y="148"/>
                  <a:pt x="248" y="140"/>
                </a:cubicBezTo>
                <a:cubicBezTo>
                  <a:pt x="248" y="135"/>
                  <a:pt x="247" y="131"/>
                  <a:pt x="245" y="128"/>
                </a:cubicBezTo>
                <a:cubicBezTo>
                  <a:pt x="252" y="123"/>
                  <a:pt x="256" y="116"/>
                  <a:pt x="256" y="108"/>
                </a:cubicBezTo>
                <a:close/>
                <a:moveTo>
                  <a:pt x="64" y="211"/>
                </a:moveTo>
                <a:cubicBezTo>
                  <a:pt x="32" y="211"/>
                  <a:pt x="32" y="211"/>
                  <a:pt x="32" y="211"/>
                </a:cubicBezTo>
                <a:cubicBezTo>
                  <a:pt x="28" y="211"/>
                  <a:pt x="25" y="206"/>
                  <a:pt x="24" y="202"/>
                </a:cubicBezTo>
                <a:cubicBezTo>
                  <a:pt x="16" y="131"/>
                  <a:pt x="16" y="131"/>
                  <a:pt x="16" y="131"/>
                </a:cubicBezTo>
                <a:cubicBezTo>
                  <a:pt x="17" y="127"/>
                  <a:pt x="20" y="123"/>
                  <a:pt x="24" y="123"/>
                </a:cubicBezTo>
                <a:cubicBezTo>
                  <a:pt x="64" y="123"/>
                  <a:pt x="64" y="123"/>
                  <a:pt x="64" y="123"/>
                </a:cubicBezTo>
                <a:cubicBezTo>
                  <a:pt x="69" y="123"/>
                  <a:pt x="72" y="127"/>
                  <a:pt x="72" y="131"/>
                </a:cubicBezTo>
                <a:cubicBezTo>
                  <a:pt x="72" y="198"/>
                  <a:pt x="72" y="198"/>
                  <a:pt x="72" y="198"/>
                </a:cubicBezTo>
                <a:cubicBezTo>
                  <a:pt x="72" y="199"/>
                  <a:pt x="72" y="200"/>
                  <a:pt x="72" y="201"/>
                </a:cubicBezTo>
                <a:cubicBezTo>
                  <a:pt x="72" y="203"/>
                  <a:pt x="72" y="203"/>
                  <a:pt x="72" y="203"/>
                </a:cubicBezTo>
                <a:cubicBezTo>
                  <a:pt x="72" y="208"/>
                  <a:pt x="69" y="211"/>
                  <a:pt x="64" y="211"/>
                </a:cubicBezTo>
                <a:close/>
                <a:moveTo>
                  <a:pt x="210" y="203"/>
                </a:moveTo>
                <a:cubicBezTo>
                  <a:pt x="105" y="203"/>
                  <a:pt x="105" y="203"/>
                  <a:pt x="105" y="203"/>
                </a:cubicBezTo>
                <a:cubicBezTo>
                  <a:pt x="88" y="194"/>
                  <a:pt x="88" y="194"/>
                  <a:pt x="88" y="194"/>
                </a:cubicBezTo>
                <a:cubicBezTo>
                  <a:pt x="88" y="131"/>
                  <a:pt x="88" y="131"/>
                  <a:pt x="88" y="131"/>
                </a:cubicBezTo>
                <a:cubicBezTo>
                  <a:pt x="88" y="128"/>
                  <a:pt x="87" y="124"/>
                  <a:pt x="86" y="121"/>
                </a:cubicBezTo>
                <a:cubicBezTo>
                  <a:pt x="100" y="109"/>
                  <a:pt x="136" y="75"/>
                  <a:pt x="136" y="48"/>
                </a:cubicBezTo>
                <a:cubicBezTo>
                  <a:pt x="136" y="31"/>
                  <a:pt x="136" y="16"/>
                  <a:pt x="140" y="16"/>
                </a:cubicBezTo>
                <a:cubicBezTo>
                  <a:pt x="148" y="16"/>
                  <a:pt x="156" y="25"/>
                  <a:pt x="156" y="44"/>
                </a:cubicBezTo>
                <a:cubicBezTo>
                  <a:pt x="156" y="67"/>
                  <a:pt x="152" y="90"/>
                  <a:pt x="152" y="90"/>
                </a:cubicBezTo>
                <a:cubicBezTo>
                  <a:pt x="152" y="93"/>
                  <a:pt x="153" y="95"/>
                  <a:pt x="154" y="97"/>
                </a:cubicBezTo>
                <a:cubicBezTo>
                  <a:pt x="156" y="98"/>
                  <a:pt x="158" y="100"/>
                  <a:pt x="160" y="100"/>
                </a:cubicBezTo>
                <a:cubicBezTo>
                  <a:pt x="232" y="100"/>
                  <a:pt x="232" y="100"/>
                  <a:pt x="232" y="100"/>
                </a:cubicBezTo>
                <a:cubicBezTo>
                  <a:pt x="237" y="100"/>
                  <a:pt x="240" y="103"/>
                  <a:pt x="240" y="108"/>
                </a:cubicBezTo>
                <a:cubicBezTo>
                  <a:pt x="240" y="112"/>
                  <a:pt x="237" y="116"/>
                  <a:pt x="232" y="116"/>
                </a:cubicBezTo>
                <a:cubicBezTo>
                  <a:pt x="223" y="116"/>
                  <a:pt x="223" y="116"/>
                  <a:pt x="223" y="116"/>
                </a:cubicBezTo>
                <a:cubicBezTo>
                  <a:pt x="219" y="116"/>
                  <a:pt x="215" y="119"/>
                  <a:pt x="215" y="124"/>
                </a:cubicBezTo>
                <a:cubicBezTo>
                  <a:pt x="215" y="128"/>
                  <a:pt x="219" y="132"/>
                  <a:pt x="223" y="132"/>
                </a:cubicBezTo>
                <a:cubicBezTo>
                  <a:pt x="224" y="132"/>
                  <a:pt x="224" y="132"/>
                  <a:pt x="224" y="132"/>
                </a:cubicBezTo>
                <a:cubicBezTo>
                  <a:pt x="224" y="132"/>
                  <a:pt x="224" y="132"/>
                  <a:pt x="224" y="132"/>
                </a:cubicBezTo>
                <a:cubicBezTo>
                  <a:pt x="229" y="132"/>
                  <a:pt x="232" y="135"/>
                  <a:pt x="232" y="140"/>
                </a:cubicBezTo>
                <a:cubicBezTo>
                  <a:pt x="232" y="144"/>
                  <a:pt x="229" y="148"/>
                  <a:pt x="224" y="148"/>
                </a:cubicBezTo>
                <a:cubicBezTo>
                  <a:pt x="219" y="148"/>
                  <a:pt x="219" y="148"/>
                  <a:pt x="219" y="148"/>
                </a:cubicBezTo>
                <a:cubicBezTo>
                  <a:pt x="219" y="148"/>
                  <a:pt x="218" y="147"/>
                  <a:pt x="218" y="147"/>
                </a:cubicBezTo>
                <a:cubicBezTo>
                  <a:pt x="218" y="147"/>
                  <a:pt x="218" y="148"/>
                  <a:pt x="218" y="148"/>
                </a:cubicBezTo>
                <a:cubicBezTo>
                  <a:pt x="215" y="148"/>
                  <a:pt x="215" y="148"/>
                  <a:pt x="215" y="148"/>
                </a:cubicBezTo>
                <a:cubicBezTo>
                  <a:pt x="211" y="148"/>
                  <a:pt x="207" y="151"/>
                  <a:pt x="207" y="156"/>
                </a:cubicBezTo>
                <a:cubicBezTo>
                  <a:pt x="207" y="160"/>
                  <a:pt x="211" y="164"/>
                  <a:pt x="215" y="164"/>
                </a:cubicBezTo>
                <a:cubicBezTo>
                  <a:pt x="218" y="164"/>
                  <a:pt x="218" y="164"/>
                  <a:pt x="218" y="164"/>
                </a:cubicBezTo>
                <a:cubicBezTo>
                  <a:pt x="222" y="164"/>
                  <a:pt x="224" y="166"/>
                  <a:pt x="224" y="169"/>
                </a:cubicBezTo>
                <a:cubicBezTo>
                  <a:pt x="224" y="173"/>
                  <a:pt x="221" y="175"/>
                  <a:pt x="218" y="175"/>
                </a:cubicBezTo>
                <a:cubicBezTo>
                  <a:pt x="210" y="175"/>
                  <a:pt x="210" y="175"/>
                  <a:pt x="210" y="175"/>
                </a:cubicBezTo>
                <a:cubicBezTo>
                  <a:pt x="210" y="175"/>
                  <a:pt x="210" y="175"/>
                  <a:pt x="210" y="175"/>
                </a:cubicBezTo>
                <a:cubicBezTo>
                  <a:pt x="210" y="175"/>
                  <a:pt x="210" y="175"/>
                  <a:pt x="210" y="175"/>
                </a:cubicBezTo>
                <a:cubicBezTo>
                  <a:pt x="206" y="175"/>
                  <a:pt x="202" y="179"/>
                  <a:pt x="202" y="183"/>
                </a:cubicBezTo>
                <a:cubicBezTo>
                  <a:pt x="202" y="188"/>
                  <a:pt x="206" y="191"/>
                  <a:pt x="210" y="191"/>
                </a:cubicBezTo>
                <a:cubicBezTo>
                  <a:pt x="213" y="191"/>
                  <a:pt x="216" y="194"/>
                  <a:pt x="216" y="197"/>
                </a:cubicBezTo>
                <a:cubicBezTo>
                  <a:pt x="216" y="201"/>
                  <a:pt x="213" y="203"/>
                  <a:pt x="210" y="203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endParaRPr lang="en-US" sz="840"/>
          </a:p>
        </p:txBody>
      </p:sp>
      <p:sp>
        <p:nvSpPr>
          <p:cNvPr id="34" name="ZenIcon3">
            <a:extLst>
              <a:ext uri="{FF2B5EF4-FFF2-40B4-BE49-F238E27FC236}">
                <a16:creationId xmlns:a16="http://schemas.microsoft.com/office/drawing/2014/main" id="{4A8085A8-4C24-BE8E-4C68-11C9416B0EAE}"/>
              </a:ext>
            </a:extLst>
          </p:cNvPr>
          <p:cNvSpPr>
            <a:spLocks noChangeAspect="1" noEditPoints="1"/>
          </p:cNvSpPr>
          <p:nvPr>
            <p:custDataLst>
              <p:tags r:id="rId3"/>
            </p:custDataLst>
          </p:nvPr>
        </p:nvSpPr>
        <p:spPr bwMode="auto">
          <a:xfrm>
            <a:off x="6923728" y="2288689"/>
            <a:ext cx="324797" cy="325605"/>
          </a:xfrm>
          <a:custGeom>
            <a:avLst/>
            <a:gdLst>
              <a:gd name="T0" fmla="*/ 1698 w 2448"/>
              <a:gd name="T1" fmla="*/ 97 h 2446"/>
              <a:gd name="T2" fmla="*/ 748 w 2448"/>
              <a:gd name="T3" fmla="*/ 97 h 2446"/>
              <a:gd name="T4" fmla="*/ 0 w 2448"/>
              <a:gd name="T5" fmla="*/ 1222 h 2446"/>
              <a:gd name="T6" fmla="*/ 748 w 2448"/>
              <a:gd name="T7" fmla="*/ 2349 h 2446"/>
              <a:gd name="T8" fmla="*/ 1698 w 2448"/>
              <a:gd name="T9" fmla="*/ 2349 h 2446"/>
              <a:gd name="T10" fmla="*/ 2448 w 2448"/>
              <a:gd name="T11" fmla="*/ 1222 h 2446"/>
              <a:gd name="T12" fmla="*/ 816 w 2448"/>
              <a:gd name="T13" fmla="*/ 227 h 2446"/>
              <a:gd name="T14" fmla="*/ 264 w 2448"/>
              <a:gd name="T15" fmla="*/ 737 h 2446"/>
              <a:gd name="T16" fmla="*/ 149 w 2448"/>
              <a:gd name="T17" fmla="*/ 1222 h 2446"/>
              <a:gd name="T18" fmla="*/ 554 w 2448"/>
              <a:gd name="T19" fmla="*/ 884 h 2446"/>
              <a:gd name="T20" fmla="*/ 554 w 2448"/>
              <a:gd name="T21" fmla="*/ 1556 h 2446"/>
              <a:gd name="T22" fmla="*/ 149 w 2448"/>
              <a:gd name="T23" fmla="*/ 1222 h 2446"/>
              <a:gd name="T24" fmla="*/ 584 w 2448"/>
              <a:gd name="T25" fmla="*/ 1704 h 2446"/>
              <a:gd name="T26" fmla="*/ 264 w 2448"/>
              <a:gd name="T27" fmla="*/ 1704 h 2446"/>
              <a:gd name="T28" fmla="*/ 906 w 2448"/>
              <a:gd name="T29" fmla="*/ 2092 h 2446"/>
              <a:gd name="T30" fmla="*/ 1148 w 2448"/>
              <a:gd name="T31" fmla="*/ 1704 h 2446"/>
              <a:gd name="T32" fmla="*/ 1148 w 2448"/>
              <a:gd name="T33" fmla="*/ 1556 h 2446"/>
              <a:gd name="T34" fmla="*/ 677 w 2448"/>
              <a:gd name="T35" fmla="*/ 1222 h 2446"/>
              <a:gd name="T36" fmla="*/ 1148 w 2448"/>
              <a:gd name="T37" fmla="*/ 884 h 2446"/>
              <a:gd name="T38" fmla="*/ 1148 w 2448"/>
              <a:gd name="T39" fmla="*/ 737 h 2446"/>
              <a:gd name="T40" fmla="*/ 909 w 2448"/>
              <a:gd name="T41" fmla="*/ 353 h 2446"/>
              <a:gd name="T42" fmla="*/ 1148 w 2448"/>
              <a:gd name="T43" fmla="*/ 737 h 2446"/>
              <a:gd name="T44" fmla="*/ 1864 w 2448"/>
              <a:gd name="T45" fmla="*/ 737 h 2446"/>
              <a:gd name="T46" fmla="*/ 2184 w 2448"/>
              <a:gd name="T47" fmla="*/ 737 h 2446"/>
              <a:gd name="T48" fmla="*/ 1539 w 2448"/>
              <a:gd name="T49" fmla="*/ 353 h 2446"/>
              <a:gd name="T50" fmla="*/ 1300 w 2448"/>
              <a:gd name="T51" fmla="*/ 737 h 2446"/>
              <a:gd name="T52" fmla="*/ 1300 w 2448"/>
              <a:gd name="T53" fmla="*/ 884 h 2446"/>
              <a:gd name="T54" fmla="*/ 1771 w 2448"/>
              <a:gd name="T55" fmla="*/ 1222 h 2446"/>
              <a:gd name="T56" fmla="*/ 1300 w 2448"/>
              <a:gd name="T57" fmla="*/ 1556 h 2446"/>
              <a:gd name="T58" fmla="*/ 1300 w 2448"/>
              <a:gd name="T59" fmla="*/ 2286 h 2446"/>
              <a:gd name="T60" fmla="*/ 1711 w 2448"/>
              <a:gd name="T61" fmla="*/ 1704 h 2446"/>
              <a:gd name="T62" fmla="*/ 1300 w 2448"/>
              <a:gd name="T63" fmla="*/ 2286 h 2446"/>
              <a:gd name="T64" fmla="*/ 1864 w 2448"/>
              <a:gd name="T65" fmla="*/ 1704 h 2446"/>
              <a:gd name="T66" fmla="*/ 1632 w 2448"/>
              <a:gd name="T67" fmla="*/ 2219 h 2446"/>
              <a:gd name="T68" fmla="*/ 1894 w 2448"/>
              <a:gd name="T69" fmla="*/ 1556 h 2446"/>
              <a:gd name="T70" fmla="*/ 1894 w 2448"/>
              <a:gd name="T71" fmla="*/ 884 h 2446"/>
              <a:gd name="T72" fmla="*/ 2299 w 2448"/>
              <a:gd name="T73" fmla="*/ 1222 h 2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2448" h="2446">
                <a:moveTo>
                  <a:pt x="2350" y="747"/>
                </a:moveTo>
                <a:cubicBezTo>
                  <a:pt x="2221" y="446"/>
                  <a:pt x="2002" y="227"/>
                  <a:pt x="1698" y="97"/>
                </a:cubicBezTo>
                <a:cubicBezTo>
                  <a:pt x="1547" y="33"/>
                  <a:pt x="1389" y="0"/>
                  <a:pt x="1223" y="0"/>
                </a:cubicBezTo>
                <a:cubicBezTo>
                  <a:pt x="1057" y="0"/>
                  <a:pt x="900" y="32"/>
                  <a:pt x="748" y="97"/>
                </a:cubicBezTo>
                <a:cubicBezTo>
                  <a:pt x="447" y="226"/>
                  <a:pt x="226" y="445"/>
                  <a:pt x="96" y="747"/>
                </a:cubicBezTo>
                <a:cubicBezTo>
                  <a:pt x="32" y="898"/>
                  <a:pt x="0" y="1056"/>
                  <a:pt x="0" y="1222"/>
                </a:cubicBezTo>
                <a:cubicBezTo>
                  <a:pt x="0" y="1388"/>
                  <a:pt x="32" y="1547"/>
                  <a:pt x="96" y="1698"/>
                </a:cubicBezTo>
                <a:cubicBezTo>
                  <a:pt x="226" y="2000"/>
                  <a:pt x="447" y="2220"/>
                  <a:pt x="748" y="2349"/>
                </a:cubicBezTo>
                <a:cubicBezTo>
                  <a:pt x="900" y="2414"/>
                  <a:pt x="1057" y="2446"/>
                  <a:pt x="1223" y="2446"/>
                </a:cubicBezTo>
                <a:cubicBezTo>
                  <a:pt x="1389" y="2446"/>
                  <a:pt x="1547" y="2413"/>
                  <a:pt x="1698" y="2349"/>
                </a:cubicBezTo>
                <a:cubicBezTo>
                  <a:pt x="2002" y="2219"/>
                  <a:pt x="2221" y="1999"/>
                  <a:pt x="2350" y="1698"/>
                </a:cubicBezTo>
                <a:cubicBezTo>
                  <a:pt x="2415" y="1547"/>
                  <a:pt x="2448" y="1388"/>
                  <a:pt x="2448" y="1222"/>
                </a:cubicBezTo>
                <a:cubicBezTo>
                  <a:pt x="2448" y="1056"/>
                  <a:pt x="2415" y="898"/>
                  <a:pt x="2350" y="747"/>
                </a:cubicBezTo>
                <a:close/>
                <a:moveTo>
                  <a:pt x="816" y="227"/>
                </a:moveTo>
                <a:cubicBezTo>
                  <a:pt x="711" y="361"/>
                  <a:pt x="633" y="531"/>
                  <a:pt x="584" y="737"/>
                </a:cubicBezTo>
                <a:cubicBezTo>
                  <a:pt x="264" y="737"/>
                  <a:pt x="264" y="737"/>
                  <a:pt x="264" y="737"/>
                </a:cubicBezTo>
                <a:cubicBezTo>
                  <a:pt x="381" y="508"/>
                  <a:pt x="580" y="325"/>
                  <a:pt x="816" y="227"/>
                </a:cubicBezTo>
                <a:close/>
                <a:moveTo>
                  <a:pt x="149" y="1222"/>
                </a:moveTo>
                <a:cubicBezTo>
                  <a:pt x="149" y="1105"/>
                  <a:pt x="167" y="993"/>
                  <a:pt x="203" y="884"/>
                </a:cubicBezTo>
                <a:cubicBezTo>
                  <a:pt x="554" y="884"/>
                  <a:pt x="554" y="884"/>
                  <a:pt x="554" y="884"/>
                </a:cubicBezTo>
                <a:cubicBezTo>
                  <a:pt x="537" y="998"/>
                  <a:pt x="529" y="1111"/>
                  <a:pt x="529" y="1222"/>
                </a:cubicBezTo>
                <a:cubicBezTo>
                  <a:pt x="529" y="1331"/>
                  <a:pt x="537" y="1443"/>
                  <a:pt x="554" y="1556"/>
                </a:cubicBezTo>
                <a:cubicBezTo>
                  <a:pt x="201" y="1556"/>
                  <a:pt x="201" y="1556"/>
                  <a:pt x="201" y="1556"/>
                </a:cubicBezTo>
                <a:cubicBezTo>
                  <a:pt x="166" y="1448"/>
                  <a:pt x="149" y="1335"/>
                  <a:pt x="149" y="1222"/>
                </a:cubicBezTo>
                <a:close/>
                <a:moveTo>
                  <a:pt x="264" y="1704"/>
                </a:moveTo>
                <a:cubicBezTo>
                  <a:pt x="584" y="1704"/>
                  <a:pt x="584" y="1704"/>
                  <a:pt x="584" y="1704"/>
                </a:cubicBezTo>
                <a:cubicBezTo>
                  <a:pt x="633" y="1914"/>
                  <a:pt x="711" y="2086"/>
                  <a:pt x="816" y="2219"/>
                </a:cubicBezTo>
                <a:cubicBezTo>
                  <a:pt x="576" y="2118"/>
                  <a:pt x="377" y="1935"/>
                  <a:pt x="264" y="1704"/>
                </a:cubicBezTo>
                <a:close/>
                <a:moveTo>
                  <a:pt x="1148" y="2286"/>
                </a:moveTo>
                <a:cubicBezTo>
                  <a:pt x="1061" y="2260"/>
                  <a:pt x="980" y="2196"/>
                  <a:pt x="906" y="2092"/>
                </a:cubicBezTo>
                <a:cubicBezTo>
                  <a:pt x="833" y="1987"/>
                  <a:pt x="776" y="1857"/>
                  <a:pt x="737" y="1704"/>
                </a:cubicBezTo>
                <a:cubicBezTo>
                  <a:pt x="1148" y="1704"/>
                  <a:pt x="1148" y="1704"/>
                  <a:pt x="1148" y="1704"/>
                </a:cubicBezTo>
                <a:lnTo>
                  <a:pt x="1148" y="2286"/>
                </a:lnTo>
                <a:close/>
                <a:moveTo>
                  <a:pt x="1148" y="1556"/>
                </a:moveTo>
                <a:cubicBezTo>
                  <a:pt x="704" y="1556"/>
                  <a:pt x="704" y="1556"/>
                  <a:pt x="704" y="1556"/>
                </a:cubicBezTo>
                <a:cubicBezTo>
                  <a:pt x="687" y="1437"/>
                  <a:pt x="677" y="1326"/>
                  <a:pt x="677" y="1222"/>
                </a:cubicBezTo>
                <a:cubicBezTo>
                  <a:pt x="677" y="1109"/>
                  <a:pt x="687" y="997"/>
                  <a:pt x="707" y="884"/>
                </a:cubicBezTo>
                <a:cubicBezTo>
                  <a:pt x="1148" y="884"/>
                  <a:pt x="1148" y="884"/>
                  <a:pt x="1148" y="884"/>
                </a:cubicBezTo>
                <a:cubicBezTo>
                  <a:pt x="1148" y="1556"/>
                  <a:pt x="1148" y="1556"/>
                  <a:pt x="1148" y="1556"/>
                </a:cubicBezTo>
                <a:close/>
                <a:moveTo>
                  <a:pt x="1148" y="737"/>
                </a:moveTo>
                <a:cubicBezTo>
                  <a:pt x="737" y="737"/>
                  <a:pt x="737" y="737"/>
                  <a:pt x="737" y="737"/>
                </a:cubicBezTo>
                <a:cubicBezTo>
                  <a:pt x="779" y="585"/>
                  <a:pt x="836" y="456"/>
                  <a:pt x="909" y="353"/>
                </a:cubicBezTo>
                <a:cubicBezTo>
                  <a:pt x="983" y="249"/>
                  <a:pt x="1061" y="184"/>
                  <a:pt x="1148" y="160"/>
                </a:cubicBezTo>
                <a:cubicBezTo>
                  <a:pt x="1148" y="737"/>
                  <a:pt x="1148" y="737"/>
                  <a:pt x="1148" y="737"/>
                </a:cubicBezTo>
                <a:close/>
                <a:moveTo>
                  <a:pt x="2184" y="737"/>
                </a:moveTo>
                <a:cubicBezTo>
                  <a:pt x="1864" y="737"/>
                  <a:pt x="1864" y="737"/>
                  <a:pt x="1864" y="737"/>
                </a:cubicBezTo>
                <a:cubicBezTo>
                  <a:pt x="1815" y="531"/>
                  <a:pt x="1737" y="361"/>
                  <a:pt x="1632" y="227"/>
                </a:cubicBezTo>
                <a:cubicBezTo>
                  <a:pt x="1868" y="325"/>
                  <a:pt x="2067" y="508"/>
                  <a:pt x="2184" y="737"/>
                </a:cubicBezTo>
                <a:close/>
                <a:moveTo>
                  <a:pt x="1300" y="160"/>
                </a:moveTo>
                <a:cubicBezTo>
                  <a:pt x="1387" y="184"/>
                  <a:pt x="1465" y="249"/>
                  <a:pt x="1539" y="353"/>
                </a:cubicBezTo>
                <a:cubicBezTo>
                  <a:pt x="1613" y="456"/>
                  <a:pt x="1669" y="585"/>
                  <a:pt x="1711" y="737"/>
                </a:cubicBezTo>
                <a:cubicBezTo>
                  <a:pt x="1300" y="737"/>
                  <a:pt x="1300" y="737"/>
                  <a:pt x="1300" y="737"/>
                </a:cubicBezTo>
                <a:lnTo>
                  <a:pt x="1300" y="160"/>
                </a:lnTo>
                <a:close/>
                <a:moveTo>
                  <a:pt x="1300" y="884"/>
                </a:moveTo>
                <a:cubicBezTo>
                  <a:pt x="1741" y="884"/>
                  <a:pt x="1741" y="884"/>
                  <a:pt x="1741" y="884"/>
                </a:cubicBezTo>
                <a:cubicBezTo>
                  <a:pt x="1761" y="997"/>
                  <a:pt x="1771" y="1109"/>
                  <a:pt x="1771" y="1222"/>
                </a:cubicBezTo>
                <a:cubicBezTo>
                  <a:pt x="1771" y="1326"/>
                  <a:pt x="1761" y="1437"/>
                  <a:pt x="1744" y="1556"/>
                </a:cubicBezTo>
                <a:cubicBezTo>
                  <a:pt x="1300" y="1556"/>
                  <a:pt x="1300" y="1556"/>
                  <a:pt x="1300" y="1556"/>
                </a:cubicBezTo>
                <a:lnTo>
                  <a:pt x="1300" y="884"/>
                </a:lnTo>
                <a:close/>
                <a:moveTo>
                  <a:pt x="1300" y="2286"/>
                </a:moveTo>
                <a:cubicBezTo>
                  <a:pt x="1300" y="1704"/>
                  <a:pt x="1300" y="1704"/>
                  <a:pt x="1300" y="1704"/>
                </a:cubicBezTo>
                <a:cubicBezTo>
                  <a:pt x="1711" y="1704"/>
                  <a:pt x="1711" y="1704"/>
                  <a:pt x="1711" y="1704"/>
                </a:cubicBezTo>
                <a:cubicBezTo>
                  <a:pt x="1670" y="1857"/>
                  <a:pt x="1613" y="1987"/>
                  <a:pt x="1541" y="2092"/>
                </a:cubicBezTo>
                <a:cubicBezTo>
                  <a:pt x="1467" y="2197"/>
                  <a:pt x="1388" y="2262"/>
                  <a:pt x="1300" y="2286"/>
                </a:cubicBezTo>
                <a:close/>
                <a:moveTo>
                  <a:pt x="1632" y="2219"/>
                </a:moveTo>
                <a:cubicBezTo>
                  <a:pt x="1737" y="2086"/>
                  <a:pt x="1815" y="1914"/>
                  <a:pt x="1864" y="1704"/>
                </a:cubicBezTo>
                <a:cubicBezTo>
                  <a:pt x="2184" y="1704"/>
                  <a:pt x="2184" y="1704"/>
                  <a:pt x="2184" y="1704"/>
                </a:cubicBezTo>
                <a:cubicBezTo>
                  <a:pt x="2071" y="1935"/>
                  <a:pt x="1872" y="2118"/>
                  <a:pt x="1632" y="2219"/>
                </a:cubicBezTo>
                <a:close/>
                <a:moveTo>
                  <a:pt x="2247" y="1556"/>
                </a:moveTo>
                <a:cubicBezTo>
                  <a:pt x="1894" y="1556"/>
                  <a:pt x="1894" y="1556"/>
                  <a:pt x="1894" y="1556"/>
                </a:cubicBezTo>
                <a:cubicBezTo>
                  <a:pt x="1911" y="1443"/>
                  <a:pt x="1919" y="1331"/>
                  <a:pt x="1919" y="1222"/>
                </a:cubicBezTo>
                <a:cubicBezTo>
                  <a:pt x="1919" y="1111"/>
                  <a:pt x="1911" y="998"/>
                  <a:pt x="1894" y="884"/>
                </a:cubicBezTo>
                <a:cubicBezTo>
                  <a:pt x="2245" y="884"/>
                  <a:pt x="2245" y="884"/>
                  <a:pt x="2245" y="884"/>
                </a:cubicBezTo>
                <a:cubicBezTo>
                  <a:pt x="2281" y="993"/>
                  <a:pt x="2299" y="1105"/>
                  <a:pt x="2299" y="1222"/>
                </a:cubicBezTo>
                <a:cubicBezTo>
                  <a:pt x="2299" y="1335"/>
                  <a:pt x="2282" y="1448"/>
                  <a:pt x="2247" y="1556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FFFFFF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35" name="ZenIcon1">
            <a:extLst>
              <a:ext uri="{FF2B5EF4-FFF2-40B4-BE49-F238E27FC236}">
                <a16:creationId xmlns:a16="http://schemas.microsoft.com/office/drawing/2014/main" id="{AF17BDA5-B48D-3432-D301-2F689A3D4FBE}"/>
              </a:ext>
            </a:extLst>
          </p:cNvPr>
          <p:cNvGrpSpPr>
            <a:grpSpLocks noChangeAspect="1"/>
          </p:cNvGrpSpPr>
          <p:nvPr>
            <p:custDataLst>
              <p:tags r:id="rId4"/>
            </p:custDataLst>
          </p:nvPr>
        </p:nvGrpSpPr>
        <p:grpSpPr>
          <a:xfrm>
            <a:off x="5900785" y="5195218"/>
            <a:ext cx="324797" cy="324797"/>
            <a:chOff x="5712408" y="975680"/>
            <a:chExt cx="671729" cy="639391"/>
          </a:xfrm>
        </p:grpSpPr>
        <p:sp>
          <p:nvSpPr>
            <p:cNvPr id="36" name="Freeform 26">
              <a:extLst>
                <a:ext uri="{FF2B5EF4-FFF2-40B4-BE49-F238E27FC236}">
                  <a16:creationId xmlns:a16="http://schemas.microsoft.com/office/drawing/2014/main" id="{6DC126D9-7E96-9F4F-A5C3-A145789EC18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12408" y="975680"/>
              <a:ext cx="671729" cy="639391"/>
            </a:xfrm>
            <a:custGeom>
              <a:avLst/>
              <a:gdLst>
                <a:gd name="T0" fmla="*/ 117 w 128"/>
                <a:gd name="T1" fmla="*/ 0 h 122"/>
                <a:gd name="T2" fmla="*/ 11 w 128"/>
                <a:gd name="T3" fmla="*/ 0 h 122"/>
                <a:gd name="T4" fmla="*/ 0 w 128"/>
                <a:gd name="T5" fmla="*/ 11 h 122"/>
                <a:gd name="T6" fmla="*/ 0 w 128"/>
                <a:gd name="T7" fmla="*/ 93 h 122"/>
                <a:gd name="T8" fmla="*/ 11 w 128"/>
                <a:gd name="T9" fmla="*/ 104 h 122"/>
                <a:gd name="T10" fmla="*/ 43 w 128"/>
                <a:gd name="T11" fmla="*/ 104 h 122"/>
                <a:gd name="T12" fmla="*/ 38 w 128"/>
                <a:gd name="T13" fmla="*/ 110 h 122"/>
                <a:gd name="T14" fmla="*/ 35 w 128"/>
                <a:gd name="T15" fmla="*/ 113 h 122"/>
                <a:gd name="T16" fmla="*/ 34 w 128"/>
                <a:gd name="T17" fmla="*/ 118 h 122"/>
                <a:gd name="T18" fmla="*/ 42 w 128"/>
                <a:gd name="T19" fmla="*/ 122 h 122"/>
                <a:gd name="T20" fmla="*/ 86 w 128"/>
                <a:gd name="T21" fmla="*/ 122 h 122"/>
                <a:gd name="T22" fmla="*/ 94 w 128"/>
                <a:gd name="T23" fmla="*/ 118 h 122"/>
                <a:gd name="T24" fmla="*/ 94 w 128"/>
                <a:gd name="T25" fmla="*/ 113 h 122"/>
                <a:gd name="T26" fmla="*/ 91 w 128"/>
                <a:gd name="T27" fmla="*/ 110 h 122"/>
                <a:gd name="T28" fmla="*/ 85 w 128"/>
                <a:gd name="T29" fmla="*/ 104 h 122"/>
                <a:gd name="T30" fmla="*/ 117 w 128"/>
                <a:gd name="T31" fmla="*/ 104 h 122"/>
                <a:gd name="T32" fmla="*/ 128 w 128"/>
                <a:gd name="T33" fmla="*/ 93 h 122"/>
                <a:gd name="T34" fmla="*/ 128 w 128"/>
                <a:gd name="T35" fmla="*/ 11 h 122"/>
                <a:gd name="T36" fmla="*/ 117 w 128"/>
                <a:gd name="T37" fmla="*/ 0 h 122"/>
                <a:gd name="T38" fmla="*/ 88 w 128"/>
                <a:gd name="T39" fmla="*/ 113 h 122"/>
                <a:gd name="T40" fmla="*/ 90 w 128"/>
                <a:gd name="T41" fmla="*/ 116 h 122"/>
                <a:gd name="T42" fmla="*/ 90 w 128"/>
                <a:gd name="T43" fmla="*/ 116 h 122"/>
                <a:gd name="T44" fmla="*/ 86 w 128"/>
                <a:gd name="T45" fmla="*/ 118 h 122"/>
                <a:gd name="T46" fmla="*/ 42 w 128"/>
                <a:gd name="T47" fmla="*/ 118 h 122"/>
                <a:gd name="T48" fmla="*/ 38 w 128"/>
                <a:gd name="T49" fmla="*/ 116 h 122"/>
                <a:gd name="T50" fmla="*/ 38 w 128"/>
                <a:gd name="T51" fmla="*/ 116 h 122"/>
                <a:gd name="T52" fmla="*/ 38 w 128"/>
                <a:gd name="T53" fmla="*/ 116 h 122"/>
                <a:gd name="T54" fmla="*/ 40 w 128"/>
                <a:gd name="T55" fmla="*/ 113 h 122"/>
                <a:gd name="T56" fmla="*/ 48 w 128"/>
                <a:gd name="T57" fmla="*/ 104 h 122"/>
                <a:gd name="T58" fmla="*/ 80 w 128"/>
                <a:gd name="T59" fmla="*/ 104 h 122"/>
                <a:gd name="T60" fmla="*/ 88 w 128"/>
                <a:gd name="T61" fmla="*/ 113 h 122"/>
                <a:gd name="T62" fmla="*/ 120 w 128"/>
                <a:gd name="T63" fmla="*/ 93 h 122"/>
                <a:gd name="T64" fmla="*/ 117 w 128"/>
                <a:gd name="T65" fmla="*/ 96 h 122"/>
                <a:gd name="T66" fmla="*/ 11 w 128"/>
                <a:gd name="T67" fmla="*/ 96 h 122"/>
                <a:gd name="T68" fmla="*/ 8 w 128"/>
                <a:gd name="T69" fmla="*/ 93 h 122"/>
                <a:gd name="T70" fmla="*/ 8 w 128"/>
                <a:gd name="T71" fmla="*/ 11 h 122"/>
                <a:gd name="T72" fmla="*/ 11 w 128"/>
                <a:gd name="T73" fmla="*/ 8 h 122"/>
                <a:gd name="T74" fmla="*/ 117 w 128"/>
                <a:gd name="T75" fmla="*/ 8 h 122"/>
                <a:gd name="T76" fmla="*/ 120 w 128"/>
                <a:gd name="T77" fmla="*/ 11 h 122"/>
                <a:gd name="T78" fmla="*/ 120 w 128"/>
                <a:gd name="T79" fmla="*/ 93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28" h="122">
                  <a:moveTo>
                    <a:pt x="117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93"/>
                    <a:pt x="0" y="93"/>
                    <a:pt x="0" y="93"/>
                  </a:cubicBezTo>
                  <a:cubicBezTo>
                    <a:pt x="0" y="99"/>
                    <a:pt x="5" y="104"/>
                    <a:pt x="11" y="104"/>
                  </a:cubicBezTo>
                  <a:cubicBezTo>
                    <a:pt x="43" y="104"/>
                    <a:pt x="43" y="104"/>
                    <a:pt x="43" y="104"/>
                  </a:cubicBezTo>
                  <a:cubicBezTo>
                    <a:pt x="42" y="106"/>
                    <a:pt x="39" y="109"/>
                    <a:pt x="38" y="110"/>
                  </a:cubicBezTo>
                  <a:cubicBezTo>
                    <a:pt x="36" y="111"/>
                    <a:pt x="35" y="112"/>
                    <a:pt x="35" y="113"/>
                  </a:cubicBezTo>
                  <a:cubicBezTo>
                    <a:pt x="34" y="114"/>
                    <a:pt x="33" y="116"/>
                    <a:pt x="34" y="118"/>
                  </a:cubicBezTo>
                  <a:cubicBezTo>
                    <a:pt x="35" y="120"/>
                    <a:pt x="37" y="122"/>
                    <a:pt x="42" y="122"/>
                  </a:cubicBezTo>
                  <a:cubicBezTo>
                    <a:pt x="86" y="122"/>
                    <a:pt x="86" y="122"/>
                    <a:pt x="86" y="122"/>
                  </a:cubicBezTo>
                  <a:cubicBezTo>
                    <a:pt x="91" y="122"/>
                    <a:pt x="93" y="120"/>
                    <a:pt x="94" y="118"/>
                  </a:cubicBezTo>
                  <a:cubicBezTo>
                    <a:pt x="95" y="116"/>
                    <a:pt x="95" y="114"/>
                    <a:pt x="94" y="113"/>
                  </a:cubicBezTo>
                  <a:cubicBezTo>
                    <a:pt x="93" y="112"/>
                    <a:pt x="92" y="111"/>
                    <a:pt x="91" y="110"/>
                  </a:cubicBezTo>
                  <a:cubicBezTo>
                    <a:pt x="89" y="109"/>
                    <a:pt x="87" y="106"/>
                    <a:pt x="85" y="104"/>
                  </a:cubicBezTo>
                  <a:cubicBezTo>
                    <a:pt x="117" y="104"/>
                    <a:pt x="117" y="104"/>
                    <a:pt x="117" y="104"/>
                  </a:cubicBezTo>
                  <a:cubicBezTo>
                    <a:pt x="123" y="104"/>
                    <a:pt x="128" y="99"/>
                    <a:pt x="128" y="93"/>
                  </a:cubicBezTo>
                  <a:cubicBezTo>
                    <a:pt x="128" y="11"/>
                    <a:pt x="128" y="11"/>
                    <a:pt x="128" y="11"/>
                  </a:cubicBezTo>
                  <a:cubicBezTo>
                    <a:pt x="128" y="5"/>
                    <a:pt x="123" y="0"/>
                    <a:pt x="117" y="0"/>
                  </a:cubicBezTo>
                  <a:close/>
                  <a:moveTo>
                    <a:pt x="88" y="113"/>
                  </a:moveTo>
                  <a:cubicBezTo>
                    <a:pt x="89" y="114"/>
                    <a:pt x="90" y="115"/>
                    <a:pt x="90" y="116"/>
                  </a:cubicBezTo>
                  <a:cubicBezTo>
                    <a:pt x="90" y="116"/>
                    <a:pt x="91" y="116"/>
                    <a:pt x="90" y="116"/>
                  </a:cubicBezTo>
                  <a:cubicBezTo>
                    <a:pt x="90" y="117"/>
                    <a:pt x="88" y="118"/>
                    <a:pt x="86" y="118"/>
                  </a:cubicBezTo>
                  <a:cubicBezTo>
                    <a:pt x="42" y="118"/>
                    <a:pt x="42" y="118"/>
                    <a:pt x="42" y="118"/>
                  </a:cubicBezTo>
                  <a:cubicBezTo>
                    <a:pt x="40" y="118"/>
                    <a:pt x="38" y="117"/>
                    <a:pt x="38" y="116"/>
                  </a:cubicBezTo>
                  <a:cubicBezTo>
                    <a:pt x="38" y="116"/>
                    <a:pt x="38" y="116"/>
                    <a:pt x="38" y="116"/>
                  </a:cubicBezTo>
                  <a:cubicBezTo>
                    <a:pt x="38" y="116"/>
                    <a:pt x="38" y="116"/>
                    <a:pt x="38" y="116"/>
                  </a:cubicBezTo>
                  <a:cubicBezTo>
                    <a:pt x="38" y="115"/>
                    <a:pt x="39" y="114"/>
                    <a:pt x="40" y="113"/>
                  </a:cubicBezTo>
                  <a:cubicBezTo>
                    <a:pt x="44" y="109"/>
                    <a:pt x="47" y="106"/>
                    <a:pt x="48" y="104"/>
                  </a:cubicBezTo>
                  <a:cubicBezTo>
                    <a:pt x="80" y="104"/>
                    <a:pt x="80" y="104"/>
                    <a:pt x="80" y="104"/>
                  </a:cubicBezTo>
                  <a:cubicBezTo>
                    <a:pt x="82" y="106"/>
                    <a:pt x="84" y="109"/>
                    <a:pt x="88" y="113"/>
                  </a:cubicBezTo>
                  <a:close/>
                  <a:moveTo>
                    <a:pt x="120" y="93"/>
                  </a:moveTo>
                  <a:cubicBezTo>
                    <a:pt x="120" y="95"/>
                    <a:pt x="119" y="96"/>
                    <a:pt x="117" y="96"/>
                  </a:cubicBezTo>
                  <a:cubicBezTo>
                    <a:pt x="11" y="96"/>
                    <a:pt x="11" y="96"/>
                    <a:pt x="11" y="96"/>
                  </a:cubicBezTo>
                  <a:cubicBezTo>
                    <a:pt x="9" y="96"/>
                    <a:pt x="8" y="95"/>
                    <a:pt x="8" y="93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8" y="9"/>
                    <a:pt x="9" y="8"/>
                    <a:pt x="11" y="8"/>
                  </a:cubicBezTo>
                  <a:cubicBezTo>
                    <a:pt x="117" y="8"/>
                    <a:pt x="117" y="8"/>
                    <a:pt x="117" y="8"/>
                  </a:cubicBezTo>
                  <a:cubicBezTo>
                    <a:pt x="119" y="8"/>
                    <a:pt x="120" y="9"/>
                    <a:pt x="120" y="11"/>
                  </a:cubicBezTo>
                  <a:lnTo>
                    <a:pt x="120" y="9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  <a:latin typeface="Lato Light"/>
              </a:endParaRPr>
            </a:p>
          </p:txBody>
        </p:sp>
        <p:sp>
          <p:nvSpPr>
            <p:cNvPr id="37" name="Freeform 27">
              <a:extLst>
                <a:ext uri="{FF2B5EF4-FFF2-40B4-BE49-F238E27FC236}">
                  <a16:creationId xmlns:a16="http://schemas.microsoft.com/office/drawing/2014/main" id="{3E785C51-4CDC-8DBA-6FC4-FB666D711E2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96917" y="1058042"/>
              <a:ext cx="502713" cy="338119"/>
            </a:xfrm>
            <a:custGeom>
              <a:avLst/>
              <a:gdLst>
                <a:gd name="T0" fmla="*/ 89 w 96"/>
                <a:gd name="T1" fmla="*/ 0 h 64"/>
                <a:gd name="T2" fmla="*/ 7 w 96"/>
                <a:gd name="T3" fmla="*/ 0 h 64"/>
                <a:gd name="T4" fmla="*/ 0 w 96"/>
                <a:gd name="T5" fmla="*/ 7 h 64"/>
                <a:gd name="T6" fmla="*/ 0 w 96"/>
                <a:gd name="T7" fmla="*/ 57 h 64"/>
                <a:gd name="T8" fmla="*/ 7 w 96"/>
                <a:gd name="T9" fmla="*/ 64 h 64"/>
                <a:gd name="T10" fmla="*/ 89 w 96"/>
                <a:gd name="T11" fmla="*/ 64 h 64"/>
                <a:gd name="T12" fmla="*/ 96 w 96"/>
                <a:gd name="T13" fmla="*/ 57 h 64"/>
                <a:gd name="T14" fmla="*/ 96 w 96"/>
                <a:gd name="T15" fmla="*/ 7 h 64"/>
                <a:gd name="T16" fmla="*/ 89 w 96"/>
                <a:gd name="T17" fmla="*/ 0 h 64"/>
                <a:gd name="T18" fmla="*/ 92 w 96"/>
                <a:gd name="T19" fmla="*/ 57 h 64"/>
                <a:gd name="T20" fmla="*/ 89 w 96"/>
                <a:gd name="T21" fmla="*/ 60 h 64"/>
                <a:gd name="T22" fmla="*/ 7 w 96"/>
                <a:gd name="T23" fmla="*/ 60 h 64"/>
                <a:gd name="T24" fmla="*/ 4 w 96"/>
                <a:gd name="T25" fmla="*/ 57 h 64"/>
                <a:gd name="T26" fmla="*/ 4 w 96"/>
                <a:gd name="T27" fmla="*/ 7 h 64"/>
                <a:gd name="T28" fmla="*/ 7 w 96"/>
                <a:gd name="T29" fmla="*/ 4 h 64"/>
                <a:gd name="T30" fmla="*/ 89 w 96"/>
                <a:gd name="T31" fmla="*/ 4 h 64"/>
                <a:gd name="T32" fmla="*/ 92 w 96"/>
                <a:gd name="T33" fmla="*/ 7 h 64"/>
                <a:gd name="T34" fmla="*/ 92 w 96"/>
                <a:gd name="T35" fmla="*/ 57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6" h="64">
                  <a:moveTo>
                    <a:pt x="89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3" y="0"/>
                    <a:pt x="0" y="3"/>
                    <a:pt x="0" y="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61"/>
                    <a:pt x="3" y="64"/>
                    <a:pt x="7" y="64"/>
                  </a:cubicBezTo>
                  <a:cubicBezTo>
                    <a:pt x="89" y="64"/>
                    <a:pt x="89" y="64"/>
                    <a:pt x="89" y="64"/>
                  </a:cubicBezTo>
                  <a:cubicBezTo>
                    <a:pt x="93" y="64"/>
                    <a:pt x="96" y="61"/>
                    <a:pt x="96" y="57"/>
                  </a:cubicBezTo>
                  <a:cubicBezTo>
                    <a:pt x="96" y="7"/>
                    <a:pt x="96" y="7"/>
                    <a:pt x="96" y="7"/>
                  </a:cubicBezTo>
                  <a:cubicBezTo>
                    <a:pt x="96" y="3"/>
                    <a:pt x="93" y="0"/>
                    <a:pt x="89" y="0"/>
                  </a:cubicBezTo>
                  <a:close/>
                  <a:moveTo>
                    <a:pt x="92" y="57"/>
                  </a:moveTo>
                  <a:cubicBezTo>
                    <a:pt x="92" y="59"/>
                    <a:pt x="91" y="60"/>
                    <a:pt x="89" y="60"/>
                  </a:cubicBezTo>
                  <a:cubicBezTo>
                    <a:pt x="7" y="60"/>
                    <a:pt x="7" y="60"/>
                    <a:pt x="7" y="60"/>
                  </a:cubicBezTo>
                  <a:cubicBezTo>
                    <a:pt x="5" y="60"/>
                    <a:pt x="4" y="59"/>
                    <a:pt x="4" y="5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4" y="5"/>
                    <a:pt x="5" y="4"/>
                    <a:pt x="7" y="4"/>
                  </a:cubicBezTo>
                  <a:cubicBezTo>
                    <a:pt x="89" y="4"/>
                    <a:pt x="89" y="4"/>
                    <a:pt x="89" y="4"/>
                  </a:cubicBezTo>
                  <a:cubicBezTo>
                    <a:pt x="91" y="4"/>
                    <a:pt x="92" y="5"/>
                    <a:pt x="92" y="7"/>
                  </a:cubicBezTo>
                  <a:lnTo>
                    <a:pt x="92" y="5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  <a:latin typeface="Lato Light"/>
              </a:endParaRPr>
            </a:p>
          </p:txBody>
        </p:sp>
        <p:sp>
          <p:nvSpPr>
            <p:cNvPr id="38" name="Freeform 28">
              <a:extLst>
                <a:ext uri="{FF2B5EF4-FFF2-40B4-BE49-F238E27FC236}">
                  <a16:creationId xmlns:a16="http://schemas.microsoft.com/office/drawing/2014/main" id="{41230A8A-646E-37D2-CAFF-23EF3F7C5E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17937" y="1404831"/>
              <a:ext cx="62840" cy="65023"/>
            </a:xfrm>
            <a:custGeom>
              <a:avLst/>
              <a:gdLst>
                <a:gd name="T0" fmla="*/ 6 w 12"/>
                <a:gd name="T1" fmla="*/ 0 h 12"/>
                <a:gd name="T2" fmla="*/ 0 w 12"/>
                <a:gd name="T3" fmla="*/ 6 h 12"/>
                <a:gd name="T4" fmla="*/ 6 w 12"/>
                <a:gd name="T5" fmla="*/ 12 h 12"/>
                <a:gd name="T6" fmla="*/ 12 w 12"/>
                <a:gd name="T7" fmla="*/ 6 h 12"/>
                <a:gd name="T8" fmla="*/ 6 w 12"/>
                <a:gd name="T9" fmla="*/ 0 h 12"/>
                <a:gd name="T10" fmla="*/ 6 w 12"/>
                <a:gd name="T11" fmla="*/ 8 h 12"/>
                <a:gd name="T12" fmla="*/ 4 w 12"/>
                <a:gd name="T13" fmla="*/ 6 h 12"/>
                <a:gd name="T14" fmla="*/ 6 w 12"/>
                <a:gd name="T15" fmla="*/ 4 h 12"/>
                <a:gd name="T16" fmla="*/ 8 w 12"/>
                <a:gd name="T17" fmla="*/ 6 h 12"/>
                <a:gd name="T18" fmla="*/ 6 w 12"/>
                <a:gd name="T19" fmla="*/ 8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cubicBezTo>
                    <a:pt x="3" y="0"/>
                    <a:pt x="0" y="3"/>
                    <a:pt x="0" y="6"/>
                  </a:cubicBezTo>
                  <a:cubicBezTo>
                    <a:pt x="0" y="9"/>
                    <a:pt x="3" y="12"/>
                    <a:pt x="6" y="12"/>
                  </a:cubicBezTo>
                  <a:cubicBezTo>
                    <a:pt x="9" y="12"/>
                    <a:pt x="12" y="9"/>
                    <a:pt x="12" y="6"/>
                  </a:cubicBezTo>
                  <a:cubicBezTo>
                    <a:pt x="12" y="3"/>
                    <a:pt x="9" y="0"/>
                    <a:pt x="6" y="0"/>
                  </a:cubicBezTo>
                  <a:close/>
                  <a:moveTo>
                    <a:pt x="6" y="8"/>
                  </a:moveTo>
                  <a:cubicBezTo>
                    <a:pt x="5" y="8"/>
                    <a:pt x="4" y="7"/>
                    <a:pt x="4" y="6"/>
                  </a:cubicBezTo>
                  <a:cubicBezTo>
                    <a:pt x="4" y="5"/>
                    <a:pt x="5" y="4"/>
                    <a:pt x="6" y="4"/>
                  </a:cubicBezTo>
                  <a:cubicBezTo>
                    <a:pt x="7" y="4"/>
                    <a:pt x="8" y="5"/>
                    <a:pt x="8" y="6"/>
                  </a:cubicBezTo>
                  <a:cubicBezTo>
                    <a:pt x="8" y="7"/>
                    <a:pt x="7" y="8"/>
                    <a:pt x="6" y="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  <a:latin typeface="Lato Light"/>
              </a:endParaRPr>
            </a:p>
          </p:txBody>
        </p:sp>
        <p:sp>
          <p:nvSpPr>
            <p:cNvPr id="39" name="Freeform 29">
              <a:extLst>
                <a:ext uri="{FF2B5EF4-FFF2-40B4-BE49-F238E27FC236}">
                  <a16:creationId xmlns:a16="http://schemas.microsoft.com/office/drawing/2014/main" id="{60908828-7B8F-12F0-708A-85C03B17E248}"/>
                </a:ext>
              </a:extLst>
            </p:cNvPr>
            <p:cNvSpPr>
              <a:spLocks/>
            </p:cNvSpPr>
            <p:nvPr/>
          </p:nvSpPr>
          <p:spPr bwMode="auto">
            <a:xfrm>
              <a:off x="5933429" y="1190255"/>
              <a:ext cx="84509" cy="88864"/>
            </a:xfrm>
            <a:custGeom>
              <a:avLst/>
              <a:gdLst>
                <a:gd name="T0" fmla="*/ 0 w 39"/>
                <a:gd name="T1" fmla="*/ 24 h 41"/>
                <a:gd name="T2" fmla="*/ 39 w 39"/>
                <a:gd name="T3" fmla="*/ 41 h 41"/>
                <a:gd name="T4" fmla="*/ 39 w 39"/>
                <a:gd name="T5" fmla="*/ 32 h 41"/>
                <a:gd name="T6" fmla="*/ 12 w 39"/>
                <a:gd name="T7" fmla="*/ 19 h 41"/>
                <a:gd name="T8" fmla="*/ 39 w 39"/>
                <a:gd name="T9" fmla="*/ 10 h 41"/>
                <a:gd name="T10" fmla="*/ 39 w 39"/>
                <a:gd name="T11" fmla="*/ 0 h 41"/>
                <a:gd name="T12" fmla="*/ 0 w 39"/>
                <a:gd name="T13" fmla="*/ 17 h 41"/>
                <a:gd name="T14" fmla="*/ 0 w 39"/>
                <a:gd name="T15" fmla="*/ 24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9" h="41">
                  <a:moveTo>
                    <a:pt x="0" y="24"/>
                  </a:moveTo>
                  <a:lnTo>
                    <a:pt x="39" y="41"/>
                  </a:lnTo>
                  <a:lnTo>
                    <a:pt x="39" y="32"/>
                  </a:lnTo>
                  <a:lnTo>
                    <a:pt x="12" y="19"/>
                  </a:lnTo>
                  <a:lnTo>
                    <a:pt x="39" y="10"/>
                  </a:lnTo>
                  <a:lnTo>
                    <a:pt x="39" y="0"/>
                  </a:lnTo>
                  <a:lnTo>
                    <a:pt x="0" y="17"/>
                  </a:lnTo>
                  <a:lnTo>
                    <a:pt x="0" y="2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  <a:latin typeface="Lato Light"/>
              </a:endParaRPr>
            </a:p>
          </p:txBody>
        </p:sp>
        <p:sp>
          <p:nvSpPr>
            <p:cNvPr id="40" name="Freeform 30">
              <a:extLst>
                <a:ext uri="{FF2B5EF4-FFF2-40B4-BE49-F238E27FC236}">
                  <a16:creationId xmlns:a16="http://schemas.microsoft.com/office/drawing/2014/main" id="{5DBF1237-DCF5-ECA6-E9D5-89E902366AB5}"/>
                </a:ext>
              </a:extLst>
            </p:cNvPr>
            <p:cNvSpPr>
              <a:spLocks/>
            </p:cNvSpPr>
            <p:nvPr/>
          </p:nvSpPr>
          <p:spPr bwMode="auto">
            <a:xfrm>
              <a:off x="6026605" y="1175084"/>
              <a:ext cx="43337" cy="119208"/>
            </a:xfrm>
            <a:custGeom>
              <a:avLst/>
              <a:gdLst>
                <a:gd name="T0" fmla="*/ 7 w 8"/>
                <a:gd name="T1" fmla="*/ 0 h 23"/>
                <a:gd name="T2" fmla="*/ 5 w 8"/>
                <a:gd name="T3" fmla="*/ 0 h 23"/>
                <a:gd name="T4" fmla="*/ 5 w 8"/>
                <a:gd name="T5" fmla="*/ 2 h 23"/>
                <a:gd name="T6" fmla="*/ 0 w 8"/>
                <a:gd name="T7" fmla="*/ 20 h 23"/>
                <a:gd name="T8" fmla="*/ 0 w 8"/>
                <a:gd name="T9" fmla="*/ 22 h 23"/>
                <a:gd name="T10" fmla="*/ 2 w 8"/>
                <a:gd name="T11" fmla="*/ 23 h 23"/>
                <a:gd name="T12" fmla="*/ 3 w 8"/>
                <a:gd name="T13" fmla="*/ 23 h 23"/>
                <a:gd name="T14" fmla="*/ 3 w 8"/>
                <a:gd name="T15" fmla="*/ 22 h 23"/>
                <a:gd name="T16" fmla="*/ 4 w 8"/>
                <a:gd name="T17" fmla="*/ 21 h 23"/>
                <a:gd name="T18" fmla="*/ 8 w 8"/>
                <a:gd name="T19" fmla="*/ 3 h 23"/>
                <a:gd name="T20" fmla="*/ 8 w 8"/>
                <a:gd name="T21" fmla="*/ 1 h 23"/>
                <a:gd name="T22" fmla="*/ 8 w 8"/>
                <a:gd name="T23" fmla="*/ 0 h 23"/>
                <a:gd name="T24" fmla="*/ 7 w 8"/>
                <a:gd name="T25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" h="23">
                  <a:moveTo>
                    <a:pt x="7" y="0"/>
                  </a:moveTo>
                  <a:cubicBezTo>
                    <a:pt x="6" y="0"/>
                    <a:pt x="6" y="0"/>
                    <a:pt x="5" y="0"/>
                  </a:cubicBezTo>
                  <a:cubicBezTo>
                    <a:pt x="5" y="0"/>
                    <a:pt x="5" y="1"/>
                    <a:pt x="5" y="2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21"/>
                    <a:pt x="0" y="22"/>
                    <a:pt x="0" y="22"/>
                  </a:cubicBezTo>
                  <a:cubicBezTo>
                    <a:pt x="0" y="23"/>
                    <a:pt x="1" y="23"/>
                    <a:pt x="2" y="23"/>
                  </a:cubicBezTo>
                  <a:cubicBezTo>
                    <a:pt x="2" y="23"/>
                    <a:pt x="2" y="23"/>
                    <a:pt x="3" y="23"/>
                  </a:cubicBezTo>
                  <a:cubicBezTo>
                    <a:pt x="3" y="23"/>
                    <a:pt x="3" y="22"/>
                    <a:pt x="3" y="22"/>
                  </a:cubicBezTo>
                  <a:cubicBezTo>
                    <a:pt x="3" y="22"/>
                    <a:pt x="3" y="21"/>
                    <a:pt x="4" y="21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8" y="2"/>
                    <a:pt x="8" y="1"/>
                    <a:pt x="8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7" y="0"/>
                    <a:pt x="7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  <a:latin typeface="Lato Light"/>
              </a:endParaRPr>
            </a:p>
          </p:txBody>
        </p:sp>
        <p:sp>
          <p:nvSpPr>
            <p:cNvPr id="41" name="Freeform 31">
              <a:extLst>
                <a:ext uri="{FF2B5EF4-FFF2-40B4-BE49-F238E27FC236}">
                  <a16:creationId xmlns:a16="http://schemas.microsoft.com/office/drawing/2014/main" id="{9BBBA852-3F13-F944-6C69-4B2BB2B71E46}"/>
                </a:ext>
              </a:extLst>
            </p:cNvPr>
            <p:cNvSpPr>
              <a:spLocks/>
            </p:cNvSpPr>
            <p:nvPr/>
          </p:nvSpPr>
          <p:spPr bwMode="auto">
            <a:xfrm>
              <a:off x="6080776" y="1190255"/>
              <a:ext cx="82341" cy="88864"/>
            </a:xfrm>
            <a:custGeom>
              <a:avLst/>
              <a:gdLst>
                <a:gd name="T0" fmla="*/ 0 w 38"/>
                <a:gd name="T1" fmla="*/ 10 h 41"/>
                <a:gd name="T2" fmla="*/ 26 w 38"/>
                <a:gd name="T3" fmla="*/ 19 h 41"/>
                <a:gd name="T4" fmla="*/ 0 w 38"/>
                <a:gd name="T5" fmla="*/ 32 h 41"/>
                <a:gd name="T6" fmla="*/ 0 w 38"/>
                <a:gd name="T7" fmla="*/ 41 h 41"/>
                <a:gd name="T8" fmla="*/ 38 w 38"/>
                <a:gd name="T9" fmla="*/ 24 h 41"/>
                <a:gd name="T10" fmla="*/ 38 w 38"/>
                <a:gd name="T11" fmla="*/ 17 h 41"/>
                <a:gd name="T12" fmla="*/ 0 w 38"/>
                <a:gd name="T13" fmla="*/ 0 h 41"/>
                <a:gd name="T14" fmla="*/ 0 w 38"/>
                <a:gd name="T15" fmla="*/ 1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41">
                  <a:moveTo>
                    <a:pt x="0" y="10"/>
                  </a:moveTo>
                  <a:lnTo>
                    <a:pt x="26" y="19"/>
                  </a:lnTo>
                  <a:lnTo>
                    <a:pt x="0" y="32"/>
                  </a:lnTo>
                  <a:lnTo>
                    <a:pt x="0" y="41"/>
                  </a:lnTo>
                  <a:lnTo>
                    <a:pt x="38" y="24"/>
                  </a:lnTo>
                  <a:lnTo>
                    <a:pt x="38" y="17"/>
                  </a:lnTo>
                  <a:lnTo>
                    <a:pt x="0" y="0"/>
                  </a:lnTo>
                  <a:lnTo>
                    <a:pt x="0" y="1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  <a:latin typeface="Lato Light"/>
              </a:endParaRPr>
            </a:p>
          </p:txBody>
        </p:sp>
      </p:grpSp>
      <p:grpSp>
        <p:nvGrpSpPr>
          <p:cNvPr id="42" name="Group 41">
            <a:extLst>
              <a:ext uri="{FF2B5EF4-FFF2-40B4-BE49-F238E27FC236}">
                <a16:creationId xmlns:a16="http://schemas.microsoft.com/office/drawing/2014/main" id="{EA2C75D9-5953-3596-0AAF-90D72B28E454}"/>
              </a:ext>
            </a:extLst>
          </p:cNvPr>
          <p:cNvGrpSpPr/>
          <p:nvPr/>
        </p:nvGrpSpPr>
        <p:grpSpPr>
          <a:xfrm>
            <a:off x="7141483" y="3493011"/>
            <a:ext cx="1164109" cy="1562602"/>
            <a:chOff x="7141483" y="3493011"/>
            <a:chExt cx="1164109" cy="1562602"/>
          </a:xfrm>
        </p:grpSpPr>
        <p:sp>
          <p:nvSpPr>
            <p:cNvPr id="43" name="Freeform 67">
              <a:extLst>
                <a:ext uri="{FF2B5EF4-FFF2-40B4-BE49-F238E27FC236}">
                  <a16:creationId xmlns:a16="http://schemas.microsoft.com/office/drawing/2014/main" id="{6E11DD82-D57C-164E-2A59-09D79FDCC5CF}"/>
                </a:ext>
              </a:extLst>
            </p:cNvPr>
            <p:cNvSpPr>
              <a:spLocks/>
            </p:cNvSpPr>
            <p:nvPr/>
          </p:nvSpPr>
          <p:spPr bwMode="auto">
            <a:xfrm rot="1789533" flipH="1" flipV="1">
              <a:off x="7457640" y="4603154"/>
              <a:ext cx="226135" cy="452459"/>
            </a:xfrm>
            <a:custGeom>
              <a:avLst/>
              <a:gdLst>
                <a:gd name="T0" fmla="*/ 46 w 46"/>
                <a:gd name="T1" fmla="*/ 0 h 111"/>
                <a:gd name="T2" fmla="*/ 42 w 46"/>
                <a:gd name="T3" fmla="*/ 2 h 111"/>
                <a:gd name="T4" fmla="*/ 18 w 46"/>
                <a:gd name="T5" fmla="*/ 90 h 111"/>
                <a:gd name="T6" fmla="*/ 38 w 46"/>
                <a:gd name="T7" fmla="*/ 111 h 111"/>
                <a:gd name="T8" fmla="*/ 46 w 46"/>
                <a:gd name="T9" fmla="*/ 0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6" h="111">
                  <a:moveTo>
                    <a:pt x="46" y="0"/>
                  </a:moveTo>
                  <a:cubicBezTo>
                    <a:pt x="45" y="0"/>
                    <a:pt x="43" y="1"/>
                    <a:pt x="42" y="2"/>
                  </a:cubicBezTo>
                  <a:cubicBezTo>
                    <a:pt x="11" y="20"/>
                    <a:pt x="0" y="59"/>
                    <a:pt x="18" y="90"/>
                  </a:cubicBezTo>
                  <a:cubicBezTo>
                    <a:pt x="23" y="99"/>
                    <a:pt x="30" y="106"/>
                    <a:pt x="38" y="111"/>
                  </a:cubicBezTo>
                  <a:cubicBezTo>
                    <a:pt x="33" y="73"/>
                    <a:pt x="36" y="35"/>
                    <a:pt x="46" y="0"/>
                  </a:cubicBezTo>
                  <a:close/>
                </a:path>
              </a:pathLst>
            </a:custGeom>
            <a:solidFill>
              <a:schemeClr val="accent3">
                <a:lumMod val="50000"/>
              </a:schemeClr>
            </a:solidFill>
            <a:ln>
              <a:noFill/>
            </a:ln>
          </p:spPr>
          <p:txBody>
            <a:bodyPr vert="horz" wrap="square" lIns="57150" tIns="28575" rIns="57150" bIns="28575" numCol="1" anchor="t" anchorCtr="0" compatLnSpc="1">
              <a:prstTxWarp prst="textNoShape">
                <a:avLst/>
              </a:prstTxWarp>
            </a:bodyPr>
            <a:lstStyle/>
            <a:p>
              <a:endParaRPr lang="en-US" sz="704"/>
            </a:p>
          </p:txBody>
        </p:sp>
        <p:sp>
          <p:nvSpPr>
            <p:cNvPr id="44" name="Freeform 68">
              <a:extLst>
                <a:ext uri="{FF2B5EF4-FFF2-40B4-BE49-F238E27FC236}">
                  <a16:creationId xmlns:a16="http://schemas.microsoft.com/office/drawing/2014/main" id="{CF036B21-40C3-9531-538C-79096C1DC4A9}"/>
                </a:ext>
              </a:extLst>
            </p:cNvPr>
            <p:cNvSpPr>
              <a:spLocks/>
            </p:cNvSpPr>
            <p:nvPr/>
          </p:nvSpPr>
          <p:spPr bwMode="auto">
            <a:xfrm rot="3563147" flipH="1" flipV="1">
              <a:off x="7660869" y="3527812"/>
              <a:ext cx="453686" cy="384084"/>
            </a:xfrm>
            <a:custGeom>
              <a:avLst/>
              <a:gdLst>
                <a:gd name="T0" fmla="*/ 0 w 100"/>
                <a:gd name="T1" fmla="*/ 0 h 68"/>
                <a:gd name="T2" fmla="*/ 8 w 100"/>
                <a:gd name="T3" fmla="*/ 27 h 68"/>
                <a:gd name="T4" fmla="*/ 96 w 100"/>
                <a:gd name="T5" fmla="*/ 51 h 68"/>
                <a:gd name="T6" fmla="*/ 100 w 100"/>
                <a:gd name="T7" fmla="*/ 48 h 68"/>
                <a:gd name="T8" fmla="*/ 0 w 100"/>
                <a:gd name="T9" fmla="*/ 0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" h="68">
                  <a:moveTo>
                    <a:pt x="0" y="0"/>
                  </a:moveTo>
                  <a:cubicBezTo>
                    <a:pt x="0" y="9"/>
                    <a:pt x="3" y="18"/>
                    <a:pt x="8" y="27"/>
                  </a:cubicBezTo>
                  <a:cubicBezTo>
                    <a:pt x="26" y="58"/>
                    <a:pt x="65" y="68"/>
                    <a:pt x="96" y="51"/>
                  </a:cubicBezTo>
                  <a:cubicBezTo>
                    <a:pt x="97" y="50"/>
                    <a:pt x="100" y="48"/>
                    <a:pt x="100" y="48"/>
                  </a:cubicBezTo>
                  <a:cubicBezTo>
                    <a:pt x="64" y="39"/>
                    <a:pt x="30" y="23"/>
                    <a:pt x="0" y="0"/>
                  </a:cubicBezTo>
                  <a:close/>
                </a:path>
              </a:pathLst>
            </a:custGeom>
            <a:solidFill>
              <a:schemeClr val="accent3">
                <a:lumMod val="50000"/>
              </a:schemeClr>
            </a:solidFill>
            <a:ln>
              <a:noFill/>
            </a:ln>
          </p:spPr>
          <p:txBody>
            <a:bodyPr vert="horz" wrap="square" lIns="57150" tIns="28575" rIns="57150" bIns="28575" numCol="1" anchor="t" anchorCtr="0" compatLnSpc="1">
              <a:prstTxWarp prst="textNoShape">
                <a:avLst/>
              </a:prstTxWarp>
            </a:bodyPr>
            <a:lstStyle/>
            <a:p>
              <a:endParaRPr lang="en-US" sz="704"/>
            </a:p>
          </p:txBody>
        </p:sp>
        <p:sp>
          <p:nvSpPr>
            <p:cNvPr id="45" name="Freeform 69">
              <a:extLst>
                <a:ext uri="{FF2B5EF4-FFF2-40B4-BE49-F238E27FC236}">
                  <a16:creationId xmlns:a16="http://schemas.microsoft.com/office/drawing/2014/main" id="{D7FF6C5E-3B58-FDBA-CBF2-FCD376D05F26}"/>
                </a:ext>
              </a:extLst>
            </p:cNvPr>
            <p:cNvSpPr>
              <a:spLocks/>
            </p:cNvSpPr>
            <p:nvPr/>
          </p:nvSpPr>
          <p:spPr bwMode="auto">
            <a:xfrm rot="2988182" flipH="1" flipV="1">
              <a:off x="7290045" y="3659145"/>
              <a:ext cx="866986" cy="1164109"/>
            </a:xfrm>
            <a:custGeom>
              <a:avLst/>
              <a:gdLst>
                <a:gd name="T0" fmla="*/ 43 w 213"/>
                <a:gd name="T1" fmla="*/ 167 h 286"/>
                <a:gd name="T2" fmla="*/ 168 w 213"/>
                <a:gd name="T3" fmla="*/ 286 h 286"/>
                <a:gd name="T4" fmla="*/ 146 w 213"/>
                <a:gd name="T5" fmla="*/ 263 h 286"/>
                <a:gd name="T6" fmla="*/ 145 w 213"/>
                <a:gd name="T7" fmla="*/ 262 h 286"/>
                <a:gd name="T8" fmla="*/ 137 w 213"/>
                <a:gd name="T9" fmla="*/ 234 h 286"/>
                <a:gd name="T10" fmla="*/ 169 w 213"/>
                <a:gd name="T11" fmla="*/ 174 h 286"/>
                <a:gd name="T12" fmla="*/ 194 w 213"/>
                <a:gd name="T13" fmla="*/ 80 h 286"/>
                <a:gd name="T14" fmla="*/ 100 w 213"/>
                <a:gd name="T15" fmla="*/ 55 h 286"/>
                <a:gd name="T16" fmla="*/ 32 w 213"/>
                <a:gd name="T17" fmla="*/ 53 h 286"/>
                <a:gd name="T18" fmla="*/ 12 w 213"/>
                <a:gd name="T19" fmla="*/ 32 h 286"/>
                <a:gd name="T20" fmla="*/ 11 w 213"/>
                <a:gd name="T21" fmla="*/ 31 h 286"/>
                <a:gd name="T22" fmla="*/ 3 w 213"/>
                <a:gd name="T23" fmla="*/ 0 h 286"/>
                <a:gd name="T24" fmla="*/ 43 w 213"/>
                <a:gd name="T25" fmla="*/ 167 h 2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13" h="286">
                  <a:moveTo>
                    <a:pt x="43" y="167"/>
                  </a:moveTo>
                  <a:cubicBezTo>
                    <a:pt x="74" y="220"/>
                    <a:pt x="118" y="260"/>
                    <a:pt x="168" y="286"/>
                  </a:cubicBezTo>
                  <a:cubicBezTo>
                    <a:pt x="159" y="280"/>
                    <a:pt x="152" y="273"/>
                    <a:pt x="146" y="263"/>
                  </a:cubicBezTo>
                  <a:cubicBezTo>
                    <a:pt x="145" y="263"/>
                    <a:pt x="145" y="262"/>
                    <a:pt x="145" y="262"/>
                  </a:cubicBezTo>
                  <a:cubicBezTo>
                    <a:pt x="140" y="253"/>
                    <a:pt x="137" y="244"/>
                    <a:pt x="137" y="234"/>
                  </a:cubicBezTo>
                  <a:cubicBezTo>
                    <a:pt x="135" y="211"/>
                    <a:pt x="147" y="187"/>
                    <a:pt x="169" y="174"/>
                  </a:cubicBezTo>
                  <a:cubicBezTo>
                    <a:pt x="201" y="155"/>
                    <a:pt x="213" y="113"/>
                    <a:pt x="194" y="80"/>
                  </a:cubicBezTo>
                  <a:cubicBezTo>
                    <a:pt x="175" y="48"/>
                    <a:pt x="133" y="36"/>
                    <a:pt x="100" y="55"/>
                  </a:cubicBezTo>
                  <a:cubicBezTo>
                    <a:pt x="78" y="68"/>
                    <a:pt x="52" y="66"/>
                    <a:pt x="32" y="53"/>
                  </a:cubicBezTo>
                  <a:cubicBezTo>
                    <a:pt x="24" y="48"/>
                    <a:pt x="17" y="41"/>
                    <a:pt x="12" y="32"/>
                  </a:cubicBezTo>
                  <a:cubicBezTo>
                    <a:pt x="12" y="31"/>
                    <a:pt x="12" y="31"/>
                    <a:pt x="11" y="31"/>
                  </a:cubicBezTo>
                  <a:cubicBezTo>
                    <a:pt x="6" y="21"/>
                    <a:pt x="3" y="10"/>
                    <a:pt x="3" y="0"/>
                  </a:cubicBezTo>
                  <a:cubicBezTo>
                    <a:pt x="0" y="56"/>
                    <a:pt x="13" y="115"/>
                    <a:pt x="43" y="167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57150" tIns="28575" rIns="57150" bIns="28575" numCol="1" anchor="t" anchorCtr="0" compatLnSpc="1">
              <a:prstTxWarp prst="textNoShape">
                <a:avLst/>
              </a:prstTxWarp>
            </a:bodyPr>
            <a:lstStyle/>
            <a:p>
              <a:endParaRPr lang="en-US" sz="704"/>
            </a:p>
          </p:txBody>
        </p:sp>
        <p:grpSp>
          <p:nvGrpSpPr>
            <p:cNvPr id="46" name="ZenIcon4">
              <a:extLst>
                <a:ext uri="{FF2B5EF4-FFF2-40B4-BE49-F238E27FC236}">
                  <a16:creationId xmlns:a16="http://schemas.microsoft.com/office/drawing/2014/main" id="{FBBE5D74-557B-3F5C-569C-2C980E71E932}"/>
                </a:ext>
              </a:extLst>
            </p:cNvPr>
            <p:cNvGrpSpPr>
              <a:grpSpLocks noChangeAspect="1"/>
            </p:cNvGrpSpPr>
            <p:nvPr>
              <p:custDataLst>
                <p:tags r:id="rId5"/>
              </p:custDataLst>
            </p:nvPr>
          </p:nvGrpSpPr>
          <p:grpSpPr>
            <a:xfrm>
              <a:off x="7444008" y="4087686"/>
              <a:ext cx="324797" cy="324797"/>
              <a:chOff x="-4769427" y="-314325"/>
              <a:chExt cx="4660901" cy="4576762"/>
            </a:xfrm>
          </p:grpSpPr>
          <p:sp>
            <p:nvSpPr>
              <p:cNvPr id="47" name="Freeform 23">
                <a:extLst>
                  <a:ext uri="{FF2B5EF4-FFF2-40B4-BE49-F238E27FC236}">
                    <a16:creationId xmlns:a16="http://schemas.microsoft.com/office/drawing/2014/main" id="{F98EC996-73D4-DED8-71D6-91FF36B0E74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4509077" y="-314325"/>
                <a:ext cx="4138613" cy="3956050"/>
              </a:xfrm>
              <a:custGeom>
                <a:avLst/>
                <a:gdLst>
                  <a:gd name="T0" fmla="*/ 2128 w 2188"/>
                  <a:gd name="T1" fmla="*/ 946 h 2085"/>
                  <a:gd name="T2" fmla="*/ 2169 w 2188"/>
                  <a:gd name="T3" fmla="*/ 781 h 2085"/>
                  <a:gd name="T4" fmla="*/ 2038 w 2188"/>
                  <a:gd name="T5" fmla="*/ 671 h 2085"/>
                  <a:gd name="T6" fmla="*/ 1503 w 2188"/>
                  <a:gd name="T7" fmla="*/ 593 h 2085"/>
                  <a:gd name="T8" fmla="*/ 1478 w 2188"/>
                  <a:gd name="T9" fmla="*/ 576 h 2085"/>
                  <a:gd name="T10" fmla="*/ 1239 w 2188"/>
                  <a:gd name="T11" fmla="*/ 90 h 2085"/>
                  <a:gd name="T12" fmla="*/ 1094 w 2188"/>
                  <a:gd name="T13" fmla="*/ 0 h 2085"/>
                  <a:gd name="T14" fmla="*/ 949 w 2188"/>
                  <a:gd name="T15" fmla="*/ 90 h 2085"/>
                  <a:gd name="T16" fmla="*/ 710 w 2188"/>
                  <a:gd name="T17" fmla="*/ 576 h 2085"/>
                  <a:gd name="T18" fmla="*/ 685 w 2188"/>
                  <a:gd name="T19" fmla="*/ 593 h 2085"/>
                  <a:gd name="T20" fmla="*/ 150 w 2188"/>
                  <a:gd name="T21" fmla="*/ 671 h 2085"/>
                  <a:gd name="T22" fmla="*/ 19 w 2188"/>
                  <a:gd name="T23" fmla="*/ 781 h 2085"/>
                  <a:gd name="T24" fmla="*/ 60 w 2188"/>
                  <a:gd name="T25" fmla="*/ 946 h 2085"/>
                  <a:gd name="T26" fmla="*/ 448 w 2188"/>
                  <a:gd name="T27" fmla="*/ 1324 h 2085"/>
                  <a:gd name="T28" fmla="*/ 457 w 2188"/>
                  <a:gd name="T29" fmla="*/ 1353 h 2085"/>
                  <a:gd name="T30" fmla="*/ 366 w 2188"/>
                  <a:gd name="T31" fmla="*/ 1886 h 2085"/>
                  <a:gd name="T32" fmla="*/ 430 w 2188"/>
                  <a:gd name="T33" fmla="*/ 2044 h 2085"/>
                  <a:gd name="T34" fmla="*/ 600 w 2188"/>
                  <a:gd name="T35" fmla="*/ 2056 h 2085"/>
                  <a:gd name="T36" fmla="*/ 1079 w 2188"/>
                  <a:gd name="T37" fmla="*/ 1805 h 2085"/>
                  <a:gd name="T38" fmla="*/ 1109 w 2188"/>
                  <a:gd name="T39" fmla="*/ 1805 h 2085"/>
                  <a:gd name="T40" fmla="*/ 1588 w 2188"/>
                  <a:gd name="T41" fmla="*/ 2056 h 2085"/>
                  <a:gd name="T42" fmla="*/ 1663 w 2188"/>
                  <a:gd name="T43" fmla="*/ 2075 h 2085"/>
                  <a:gd name="T44" fmla="*/ 1758 w 2188"/>
                  <a:gd name="T45" fmla="*/ 2044 h 2085"/>
                  <a:gd name="T46" fmla="*/ 1822 w 2188"/>
                  <a:gd name="T47" fmla="*/ 1886 h 2085"/>
                  <a:gd name="T48" fmla="*/ 1731 w 2188"/>
                  <a:gd name="T49" fmla="*/ 1353 h 2085"/>
                  <a:gd name="T50" fmla="*/ 1740 w 2188"/>
                  <a:gd name="T51" fmla="*/ 1324 h 2085"/>
                  <a:gd name="T52" fmla="*/ 2128 w 2188"/>
                  <a:gd name="T53" fmla="*/ 946 h 2085"/>
                  <a:gd name="T54" fmla="*/ 1604 w 2188"/>
                  <a:gd name="T55" fmla="*/ 1375 h 2085"/>
                  <a:gd name="T56" fmla="*/ 1695 w 2188"/>
                  <a:gd name="T57" fmla="*/ 1908 h 2085"/>
                  <a:gd name="T58" fmla="*/ 1682 w 2188"/>
                  <a:gd name="T59" fmla="*/ 1940 h 2085"/>
                  <a:gd name="T60" fmla="*/ 1648 w 2188"/>
                  <a:gd name="T61" fmla="*/ 1942 h 2085"/>
                  <a:gd name="T62" fmla="*/ 1169 w 2188"/>
                  <a:gd name="T63" fmla="*/ 1690 h 2085"/>
                  <a:gd name="T64" fmla="*/ 1094 w 2188"/>
                  <a:gd name="T65" fmla="*/ 1672 h 2085"/>
                  <a:gd name="T66" fmla="*/ 1019 w 2188"/>
                  <a:gd name="T67" fmla="*/ 1690 h 2085"/>
                  <a:gd name="T68" fmla="*/ 540 w 2188"/>
                  <a:gd name="T69" fmla="*/ 1942 h 2085"/>
                  <a:gd name="T70" fmla="*/ 506 w 2188"/>
                  <a:gd name="T71" fmla="*/ 1940 h 2085"/>
                  <a:gd name="T72" fmla="*/ 493 w 2188"/>
                  <a:gd name="T73" fmla="*/ 1908 h 2085"/>
                  <a:gd name="T74" fmla="*/ 584 w 2188"/>
                  <a:gd name="T75" fmla="*/ 1375 h 2085"/>
                  <a:gd name="T76" fmla="*/ 538 w 2188"/>
                  <a:gd name="T77" fmla="*/ 1232 h 2085"/>
                  <a:gd name="T78" fmla="*/ 150 w 2188"/>
                  <a:gd name="T79" fmla="*/ 854 h 2085"/>
                  <a:gd name="T80" fmla="*/ 142 w 2188"/>
                  <a:gd name="T81" fmla="*/ 821 h 2085"/>
                  <a:gd name="T82" fmla="*/ 168 w 2188"/>
                  <a:gd name="T83" fmla="*/ 799 h 2085"/>
                  <a:gd name="T84" fmla="*/ 704 w 2188"/>
                  <a:gd name="T85" fmla="*/ 721 h 2085"/>
                  <a:gd name="T86" fmla="*/ 826 w 2188"/>
                  <a:gd name="T87" fmla="*/ 633 h 2085"/>
                  <a:gd name="T88" fmla="*/ 1065 w 2188"/>
                  <a:gd name="T89" fmla="*/ 147 h 2085"/>
                  <a:gd name="T90" fmla="*/ 1094 w 2188"/>
                  <a:gd name="T91" fmla="*/ 129 h 2085"/>
                  <a:gd name="T92" fmla="*/ 1123 w 2188"/>
                  <a:gd name="T93" fmla="*/ 147 h 2085"/>
                  <a:gd name="T94" fmla="*/ 1123 w 2188"/>
                  <a:gd name="T95" fmla="*/ 147 h 2085"/>
                  <a:gd name="T96" fmla="*/ 1363 w 2188"/>
                  <a:gd name="T97" fmla="*/ 633 h 2085"/>
                  <a:gd name="T98" fmla="*/ 1484 w 2188"/>
                  <a:gd name="T99" fmla="*/ 721 h 2085"/>
                  <a:gd name="T100" fmla="*/ 2020 w 2188"/>
                  <a:gd name="T101" fmla="*/ 799 h 2085"/>
                  <a:gd name="T102" fmla="*/ 2046 w 2188"/>
                  <a:gd name="T103" fmla="*/ 821 h 2085"/>
                  <a:gd name="T104" fmla="*/ 2038 w 2188"/>
                  <a:gd name="T105" fmla="*/ 854 h 2085"/>
                  <a:gd name="T106" fmla="*/ 1650 w 2188"/>
                  <a:gd name="T107" fmla="*/ 1232 h 2085"/>
                  <a:gd name="T108" fmla="*/ 1604 w 2188"/>
                  <a:gd name="T109" fmla="*/ 1375 h 20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2188" h="2085">
                    <a:moveTo>
                      <a:pt x="2128" y="946"/>
                    </a:moveTo>
                    <a:cubicBezTo>
                      <a:pt x="2172" y="903"/>
                      <a:pt x="2188" y="840"/>
                      <a:pt x="2169" y="781"/>
                    </a:cubicBezTo>
                    <a:cubicBezTo>
                      <a:pt x="2149" y="722"/>
                      <a:pt x="2100" y="680"/>
                      <a:pt x="2038" y="671"/>
                    </a:cubicBezTo>
                    <a:cubicBezTo>
                      <a:pt x="1503" y="593"/>
                      <a:pt x="1503" y="593"/>
                      <a:pt x="1503" y="593"/>
                    </a:cubicBezTo>
                    <a:cubicBezTo>
                      <a:pt x="1492" y="592"/>
                      <a:pt x="1483" y="585"/>
                      <a:pt x="1478" y="576"/>
                    </a:cubicBezTo>
                    <a:cubicBezTo>
                      <a:pt x="1239" y="90"/>
                      <a:pt x="1239" y="90"/>
                      <a:pt x="1239" y="90"/>
                    </a:cubicBezTo>
                    <a:cubicBezTo>
                      <a:pt x="1211" y="35"/>
                      <a:pt x="1156" y="0"/>
                      <a:pt x="1094" y="0"/>
                    </a:cubicBezTo>
                    <a:cubicBezTo>
                      <a:pt x="1032" y="0"/>
                      <a:pt x="977" y="35"/>
                      <a:pt x="949" y="90"/>
                    </a:cubicBezTo>
                    <a:cubicBezTo>
                      <a:pt x="710" y="576"/>
                      <a:pt x="710" y="576"/>
                      <a:pt x="710" y="576"/>
                    </a:cubicBezTo>
                    <a:cubicBezTo>
                      <a:pt x="705" y="585"/>
                      <a:pt x="696" y="592"/>
                      <a:pt x="685" y="593"/>
                    </a:cubicBezTo>
                    <a:cubicBezTo>
                      <a:pt x="150" y="671"/>
                      <a:pt x="150" y="671"/>
                      <a:pt x="150" y="671"/>
                    </a:cubicBezTo>
                    <a:cubicBezTo>
                      <a:pt x="88" y="680"/>
                      <a:pt x="39" y="722"/>
                      <a:pt x="19" y="781"/>
                    </a:cubicBezTo>
                    <a:cubicBezTo>
                      <a:pt x="0" y="840"/>
                      <a:pt x="16" y="903"/>
                      <a:pt x="60" y="946"/>
                    </a:cubicBezTo>
                    <a:cubicBezTo>
                      <a:pt x="448" y="1324"/>
                      <a:pt x="448" y="1324"/>
                      <a:pt x="448" y="1324"/>
                    </a:cubicBezTo>
                    <a:cubicBezTo>
                      <a:pt x="455" y="1332"/>
                      <a:pt x="459" y="1342"/>
                      <a:pt x="457" y="1353"/>
                    </a:cubicBezTo>
                    <a:cubicBezTo>
                      <a:pt x="366" y="1886"/>
                      <a:pt x="366" y="1886"/>
                      <a:pt x="366" y="1886"/>
                    </a:cubicBezTo>
                    <a:cubicBezTo>
                      <a:pt x="355" y="1947"/>
                      <a:pt x="380" y="2008"/>
                      <a:pt x="430" y="2044"/>
                    </a:cubicBezTo>
                    <a:cubicBezTo>
                      <a:pt x="480" y="2081"/>
                      <a:pt x="545" y="2085"/>
                      <a:pt x="600" y="2056"/>
                    </a:cubicBezTo>
                    <a:cubicBezTo>
                      <a:pt x="1079" y="1805"/>
                      <a:pt x="1079" y="1805"/>
                      <a:pt x="1079" y="1805"/>
                    </a:cubicBezTo>
                    <a:cubicBezTo>
                      <a:pt x="1088" y="1800"/>
                      <a:pt x="1100" y="1800"/>
                      <a:pt x="1109" y="1805"/>
                    </a:cubicBezTo>
                    <a:cubicBezTo>
                      <a:pt x="1588" y="2056"/>
                      <a:pt x="1588" y="2056"/>
                      <a:pt x="1588" y="2056"/>
                    </a:cubicBezTo>
                    <a:cubicBezTo>
                      <a:pt x="1612" y="2069"/>
                      <a:pt x="1638" y="2075"/>
                      <a:pt x="1663" y="2075"/>
                    </a:cubicBezTo>
                    <a:cubicBezTo>
                      <a:pt x="1697" y="2075"/>
                      <a:pt x="1730" y="2065"/>
                      <a:pt x="1758" y="2044"/>
                    </a:cubicBezTo>
                    <a:cubicBezTo>
                      <a:pt x="1808" y="2008"/>
                      <a:pt x="1833" y="1947"/>
                      <a:pt x="1822" y="1886"/>
                    </a:cubicBezTo>
                    <a:cubicBezTo>
                      <a:pt x="1731" y="1353"/>
                      <a:pt x="1731" y="1353"/>
                      <a:pt x="1731" y="1353"/>
                    </a:cubicBezTo>
                    <a:cubicBezTo>
                      <a:pt x="1729" y="1342"/>
                      <a:pt x="1733" y="1332"/>
                      <a:pt x="1740" y="1324"/>
                    </a:cubicBezTo>
                    <a:lnTo>
                      <a:pt x="2128" y="946"/>
                    </a:lnTo>
                    <a:close/>
                    <a:moveTo>
                      <a:pt x="1604" y="1375"/>
                    </a:moveTo>
                    <a:cubicBezTo>
                      <a:pt x="1695" y="1908"/>
                      <a:pt x="1695" y="1908"/>
                      <a:pt x="1695" y="1908"/>
                    </a:cubicBezTo>
                    <a:cubicBezTo>
                      <a:pt x="1698" y="1926"/>
                      <a:pt x="1687" y="1936"/>
                      <a:pt x="1682" y="1940"/>
                    </a:cubicBezTo>
                    <a:cubicBezTo>
                      <a:pt x="1677" y="1943"/>
                      <a:pt x="1664" y="1951"/>
                      <a:pt x="1648" y="1942"/>
                    </a:cubicBezTo>
                    <a:cubicBezTo>
                      <a:pt x="1169" y="1690"/>
                      <a:pt x="1169" y="1690"/>
                      <a:pt x="1169" y="1690"/>
                    </a:cubicBezTo>
                    <a:cubicBezTo>
                      <a:pt x="1146" y="1678"/>
                      <a:pt x="1120" y="1672"/>
                      <a:pt x="1094" y="1672"/>
                    </a:cubicBezTo>
                    <a:cubicBezTo>
                      <a:pt x="1068" y="1672"/>
                      <a:pt x="1042" y="1678"/>
                      <a:pt x="1019" y="1690"/>
                    </a:cubicBezTo>
                    <a:cubicBezTo>
                      <a:pt x="540" y="1942"/>
                      <a:pt x="540" y="1942"/>
                      <a:pt x="540" y="1942"/>
                    </a:cubicBezTo>
                    <a:cubicBezTo>
                      <a:pt x="524" y="1951"/>
                      <a:pt x="511" y="1943"/>
                      <a:pt x="506" y="1940"/>
                    </a:cubicBezTo>
                    <a:cubicBezTo>
                      <a:pt x="501" y="1936"/>
                      <a:pt x="490" y="1926"/>
                      <a:pt x="493" y="1908"/>
                    </a:cubicBezTo>
                    <a:cubicBezTo>
                      <a:pt x="584" y="1375"/>
                      <a:pt x="584" y="1375"/>
                      <a:pt x="584" y="1375"/>
                    </a:cubicBezTo>
                    <a:cubicBezTo>
                      <a:pt x="593" y="1322"/>
                      <a:pt x="576" y="1269"/>
                      <a:pt x="538" y="1232"/>
                    </a:cubicBezTo>
                    <a:cubicBezTo>
                      <a:pt x="150" y="854"/>
                      <a:pt x="150" y="854"/>
                      <a:pt x="150" y="854"/>
                    </a:cubicBezTo>
                    <a:cubicBezTo>
                      <a:pt x="137" y="841"/>
                      <a:pt x="140" y="827"/>
                      <a:pt x="142" y="821"/>
                    </a:cubicBezTo>
                    <a:cubicBezTo>
                      <a:pt x="144" y="815"/>
                      <a:pt x="150" y="801"/>
                      <a:pt x="168" y="799"/>
                    </a:cubicBezTo>
                    <a:cubicBezTo>
                      <a:pt x="704" y="721"/>
                      <a:pt x="704" y="721"/>
                      <a:pt x="704" y="721"/>
                    </a:cubicBezTo>
                    <a:cubicBezTo>
                      <a:pt x="757" y="713"/>
                      <a:pt x="802" y="680"/>
                      <a:pt x="826" y="633"/>
                    </a:cubicBezTo>
                    <a:cubicBezTo>
                      <a:pt x="1065" y="147"/>
                      <a:pt x="1065" y="147"/>
                      <a:pt x="1065" y="147"/>
                    </a:cubicBezTo>
                    <a:cubicBezTo>
                      <a:pt x="1073" y="131"/>
                      <a:pt x="1088" y="129"/>
                      <a:pt x="1094" y="129"/>
                    </a:cubicBezTo>
                    <a:cubicBezTo>
                      <a:pt x="1100" y="129"/>
                      <a:pt x="1115" y="131"/>
                      <a:pt x="1123" y="147"/>
                    </a:cubicBezTo>
                    <a:cubicBezTo>
                      <a:pt x="1123" y="147"/>
                      <a:pt x="1123" y="147"/>
                      <a:pt x="1123" y="147"/>
                    </a:cubicBezTo>
                    <a:cubicBezTo>
                      <a:pt x="1363" y="633"/>
                      <a:pt x="1363" y="633"/>
                      <a:pt x="1363" y="633"/>
                    </a:cubicBezTo>
                    <a:cubicBezTo>
                      <a:pt x="1386" y="680"/>
                      <a:pt x="1431" y="713"/>
                      <a:pt x="1484" y="721"/>
                    </a:cubicBezTo>
                    <a:cubicBezTo>
                      <a:pt x="2020" y="799"/>
                      <a:pt x="2020" y="799"/>
                      <a:pt x="2020" y="799"/>
                    </a:cubicBezTo>
                    <a:cubicBezTo>
                      <a:pt x="2038" y="801"/>
                      <a:pt x="2044" y="815"/>
                      <a:pt x="2046" y="821"/>
                    </a:cubicBezTo>
                    <a:cubicBezTo>
                      <a:pt x="2048" y="827"/>
                      <a:pt x="2051" y="841"/>
                      <a:pt x="2038" y="854"/>
                    </a:cubicBezTo>
                    <a:cubicBezTo>
                      <a:pt x="1650" y="1232"/>
                      <a:pt x="1650" y="1232"/>
                      <a:pt x="1650" y="1232"/>
                    </a:cubicBezTo>
                    <a:cubicBezTo>
                      <a:pt x="1612" y="1269"/>
                      <a:pt x="1595" y="1322"/>
                      <a:pt x="1604" y="1375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FFFFFF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" name="Freeform 24">
                <a:extLst>
                  <a:ext uri="{FF2B5EF4-FFF2-40B4-BE49-F238E27FC236}">
                    <a16:creationId xmlns:a16="http://schemas.microsoft.com/office/drawing/2014/main" id="{9D851DA0-C906-9ECA-8A08-22449A8EA45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351539" y="-182563"/>
                <a:ext cx="406400" cy="439738"/>
              </a:xfrm>
              <a:custGeom>
                <a:avLst/>
                <a:gdLst>
                  <a:gd name="T0" fmla="*/ 179 w 215"/>
                  <a:gd name="T1" fmla="*/ 21 h 232"/>
                  <a:gd name="T2" fmla="*/ 89 w 215"/>
                  <a:gd name="T3" fmla="*/ 35 h 232"/>
                  <a:gd name="T4" fmla="*/ 21 w 215"/>
                  <a:gd name="T5" fmla="*/ 130 h 232"/>
                  <a:gd name="T6" fmla="*/ 35 w 215"/>
                  <a:gd name="T7" fmla="*/ 220 h 232"/>
                  <a:gd name="T8" fmla="*/ 73 w 215"/>
                  <a:gd name="T9" fmla="*/ 232 h 232"/>
                  <a:gd name="T10" fmla="*/ 125 w 215"/>
                  <a:gd name="T11" fmla="*/ 206 h 232"/>
                  <a:gd name="T12" fmla="*/ 194 w 215"/>
                  <a:gd name="T13" fmla="*/ 111 h 232"/>
                  <a:gd name="T14" fmla="*/ 179 w 215"/>
                  <a:gd name="T15" fmla="*/ 21 h 2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15" h="232">
                    <a:moveTo>
                      <a:pt x="179" y="21"/>
                    </a:moveTo>
                    <a:cubicBezTo>
                      <a:pt x="151" y="0"/>
                      <a:pt x="110" y="7"/>
                      <a:pt x="89" y="35"/>
                    </a:cubicBezTo>
                    <a:cubicBezTo>
                      <a:pt x="21" y="130"/>
                      <a:pt x="21" y="130"/>
                      <a:pt x="21" y="130"/>
                    </a:cubicBezTo>
                    <a:cubicBezTo>
                      <a:pt x="0" y="159"/>
                      <a:pt x="6" y="199"/>
                      <a:pt x="35" y="220"/>
                    </a:cubicBezTo>
                    <a:cubicBezTo>
                      <a:pt x="46" y="228"/>
                      <a:pt x="60" y="232"/>
                      <a:pt x="73" y="232"/>
                    </a:cubicBezTo>
                    <a:cubicBezTo>
                      <a:pt x="93" y="232"/>
                      <a:pt x="113" y="223"/>
                      <a:pt x="125" y="206"/>
                    </a:cubicBezTo>
                    <a:cubicBezTo>
                      <a:pt x="194" y="111"/>
                      <a:pt x="194" y="111"/>
                      <a:pt x="194" y="111"/>
                    </a:cubicBezTo>
                    <a:cubicBezTo>
                      <a:pt x="215" y="83"/>
                      <a:pt x="208" y="42"/>
                      <a:pt x="179" y="21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FFFFFF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" name="Freeform 25">
                <a:extLst>
                  <a:ext uri="{FF2B5EF4-FFF2-40B4-BE49-F238E27FC236}">
                    <a16:creationId xmlns:a16="http://schemas.microsoft.com/office/drawing/2014/main" id="{D9EA20C1-1C86-2B80-302A-B60FB1372EC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3934402" y="-182563"/>
                <a:ext cx="407988" cy="439738"/>
              </a:xfrm>
              <a:custGeom>
                <a:avLst/>
                <a:gdLst>
                  <a:gd name="T0" fmla="*/ 194 w 215"/>
                  <a:gd name="T1" fmla="*/ 129 h 232"/>
                  <a:gd name="T2" fmla="*/ 126 w 215"/>
                  <a:gd name="T3" fmla="*/ 35 h 232"/>
                  <a:gd name="T4" fmla="*/ 35 w 215"/>
                  <a:gd name="T5" fmla="*/ 21 h 232"/>
                  <a:gd name="T6" fmla="*/ 21 w 215"/>
                  <a:gd name="T7" fmla="*/ 111 h 232"/>
                  <a:gd name="T8" fmla="*/ 90 w 215"/>
                  <a:gd name="T9" fmla="*/ 205 h 232"/>
                  <a:gd name="T10" fmla="*/ 142 w 215"/>
                  <a:gd name="T11" fmla="*/ 232 h 232"/>
                  <a:gd name="T12" fmla="*/ 180 w 215"/>
                  <a:gd name="T13" fmla="*/ 220 h 232"/>
                  <a:gd name="T14" fmla="*/ 194 w 215"/>
                  <a:gd name="T15" fmla="*/ 129 h 2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15" h="232">
                    <a:moveTo>
                      <a:pt x="194" y="129"/>
                    </a:moveTo>
                    <a:cubicBezTo>
                      <a:pt x="126" y="35"/>
                      <a:pt x="126" y="35"/>
                      <a:pt x="126" y="35"/>
                    </a:cubicBezTo>
                    <a:cubicBezTo>
                      <a:pt x="105" y="6"/>
                      <a:pt x="64" y="0"/>
                      <a:pt x="35" y="21"/>
                    </a:cubicBezTo>
                    <a:cubicBezTo>
                      <a:pt x="6" y="42"/>
                      <a:pt x="0" y="82"/>
                      <a:pt x="21" y="111"/>
                    </a:cubicBezTo>
                    <a:cubicBezTo>
                      <a:pt x="90" y="205"/>
                      <a:pt x="90" y="205"/>
                      <a:pt x="90" y="205"/>
                    </a:cubicBezTo>
                    <a:cubicBezTo>
                      <a:pt x="102" y="223"/>
                      <a:pt x="122" y="232"/>
                      <a:pt x="142" y="232"/>
                    </a:cubicBezTo>
                    <a:cubicBezTo>
                      <a:pt x="155" y="232"/>
                      <a:pt x="168" y="228"/>
                      <a:pt x="180" y="220"/>
                    </a:cubicBezTo>
                    <a:cubicBezTo>
                      <a:pt x="209" y="199"/>
                      <a:pt x="215" y="158"/>
                      <a:pt x="194" y="129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FFFFFF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" name="Freeform 26">
                <a:extLst>
                  <a:ext uri="{FF2B5EF4-FFF2-40B4-BE49-F238E27FC236}">
                    <a16:creationId xmlns:a16="http://schemas.microsoft.com/office/drawing/2014/main" id="{ABBA97C5-3627-F592-49AF-5EA5185A0AC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4769427" y="2336800"/>
                <a:ext cx="484188" cy="328613"/>
              </a:xfrm>
              <a:custGeom>
                <a:avLst/>
                <a:gdLst>
                  <a:gd name="T0" fmla="*/ 245 w 256"/>
                  <a:gd name="T1" fmla="*/ 52 h 173"/>
                  <a:gd name="T2" fmla="*/ 164 w 256"/>
                  <a:gd name="T3" fmla="*/ 11 h 173"/>
                  <a:gd name="T4" fmla="*/ 53 w 256"/>
                  <a:gd name="T5" fmla="*/ 47 h 173"/>
                  <a:gd name="T6" fmla="*/ 11 w 256"/>
                  <a:gd name="T7" fmla="*/ 128 h 173"/>
                  <a:gd name="T8" fmla="*/ 73 w 256"/>
                  <a:gd name="T9" fmla="*/ 173 h 173"/>
                  <a:gd name="T10" fmla="*/ 93 w 256"/>
                  <a:gd name="T11" fmla="*/ 169 h 173"/>
                  <a:gd name="T12" fmla="*/ 203 w 256"/>
                  <a:gd name="T13" fmla="*/ 133 h 173"/>
                  <a:gd name="T14" fmla="*/ 245 w 256"/>
                  <a:gd name="T15" fmla="*/ 52 h 1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56" h="173">
                    <a:moveTo>
                      <a:pt x="245" y="52"/>
                    </a:moveTo>
                    <a:cubicBezTo>
                      <a:pt x="234" y="18"/>
                      <a:pt x="197" y="0"/>
                      <a:pt x="164" y="11"/>
                    </a:cubicBezTo>
                    <a:cubicBezTo>
                      <a:pt x="53" y="47"/>
                      <a:pt x="53" y="47"/>
                      <a:pt x="53" y="47"/>
                    </a:cubicBezTo>
                    <a:cubicBezTo>
                      <a:pt x="19" y="58"/>
                      <a:pt x="0" y="94"/>
                      <a:pt x="11" y="128"/>
                    </a:cubicBezTo>
                    <a:cubicBezTo>
                      <a:pt x="20" y="155"/>
                      <a:pt x="45" y="173"/>
                      <a:pt x="73" y="173"/>
                    </a:cubicBezTo>
                    <a:cubicBezTo>
                      <a:pt x="79" y="173"/>
                      <a:pt x="86" y="172"/>
                      <a:pt x="93" y="169"/>
                    </a:cubicBezTo>
                    <a:cubicBezTo>
                      <a:pt x="203" y="133"/>
                      <a:pt x="203" y="133"/>
                      <a:pt x="203" y="133"/>
                    </a:cubicBezTo>
                    <a:cubicBezTo>
                      <a:pt x="237" y="122"/>
                      <a:pt x="256" y="86"/>
                      <a:pt x="245" y="5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FFFFFF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" name="Freeform 27">
                <a:extLst>
                  <a:ext uri="{FF2B5EF4-FFF2-40B4-BE49-F238E27FC236}">
                    <a16:creationId xmlns:a16="http://schemas.microsoft.com/office/drawing/2014/main" id="{63175E2B-9BCB-8C70-10ED-BAE6809F9F6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2562802" y="3795712"/>
                <a:ext cx="246063" cy="466725"/>
              </a:xfrm>
              <a:custGeom>
                <a:avLst/>
                <a:gdLst>
                  <a:gd name="T0" fmla="*/ 65 w 130"/>
                  <a:gd name="T1" fmla="*/ 0 h 246"/>
                  <a:gd name="T2" fmla="*/ 0 w 130"/>
                  <a:gd name="T3" fmla="*/ 65 h 246"/>
                  <a:gd name="T4" fmla="*/ 0 w 130"/>
                  <a:gd name="T5" fmla="*/ 181 h 246"/>
                  <a:gd name="T6" fmla="*/ 65 w 130"/>
                  <a:gd name="T7" fmla="*/ 246 h 246"/>
                  <a:gd name="T8" fmla="*/ 130 w 130"/>
                  <a:gd name="T9" fmla="*/ 181 h 246"/>
                  <a:gd name="T10" fmla="*/ 130 w 130"/>
                  <a:gd name="T11" fmla="*/ 65 h 246"/>
                  <a:gd name="T12" fmla="*/ 65 w 130"/>
                  <a:gd name="T13" fmla="*/ 0 h 2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30" h="246">
                    <a:moveTo>
                      <a:pt x="65" y="0"/>
                    </a:moveTo>
                    <a:cubicBezTo>
                      <a:pt x="29" y="0"/>
                      <a:pt x="0" y="29"/>
                      <a:pt x="0" y="65"/>
                    </a:cubicBezTo>
                    <a:cubicBezTo>
                      <a:pt x="0" y="181"/>
                      <a:pt x="0" y="181"/>
                      <a:pt x="0" y="181"/>
                    </a:cubicBezTo>
                    <a:cubicBezTo>
                      <a:pt x="0" y="217"/>
                      <a:pt x="29" y="246"/>
                      <a:pt x="65" y="246"/>
                    </a:cubicBezTo>
                    <a:cubicBezTo>
                      <a:pt x="101" y="246"/>
                      <a:pt x="130" y="217"/>
                      <a:pt x="130" y="181"/>
                    </a:cubicBezTo>
                    <a:cubicBezTo>
                      <a:pt x="130" y="65"/>
                      <a:pt x="130" y="65"/>
                      <a:pt x="130" y="65"/>
                    </a:cubicBezTo>
                    <a:cubicBezTo>
                      <a:pt x="130" y="29"/>
                      <a:pt x="101" y="0"/>
                      <a:pt x="65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FFFFFF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2" name="Freeform 28">
                <a:extLst>
                  <a:ext uri="{FF2B5EF4-FFF2-40B4-BE49-F238E27FC236}">
                    <a16:creationId xmlns:a16="http://schemas.microsoft.com/office/drawing/2014/main" id="{A1153293-6C0B-99CA-FE3E-702ABD6DF32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92714" y="2336800"/>
                <a:ext cx="484188" cy="328613"/>
              </a:xfrm>
              <a:custGeom>
                <a:avLst/>
                <a:gdLst>
                  <a:gd name="T0" fmla="*/ 203 w 256"/>
                  <a:gd name="T1" fmla="*/ 47 h 173"/>
                  <a:gd name="T2" fmla="*/ 92 w 256"/>
                  <a:gd name="T3" fmla="*/ 11 h 173"/>
                  <a:gd name="T4" fmla="*/ 11 w 256"/>
                  <a:gd name="T5" fmla="*/ 52 h 173"/>
                  <a:gd name="T6" fmla="*/ 53 w 256"/>
                  <a:gd name="T7" fmla="*/ 133 h 173"/>
                  <a:gd name="T8" fmla="*/ 163 w 256"/>
                  <a:gd name="T9" fmla="*/ 170 h 173"/>
                  <a:gd name="T10" fmla="*/ 183 w 256"/>
                  <a:gd name="T11" fmla="*/ 173 h 173"/>
                  <a:gd name="T12" fmla="*/ 245 w 256"/>
                  <a:gd name="T13" fmla="*/ 128 h 173"/>
                  <a:gd name="T14" fmla="*/ 203 w 256"/>
                  <a:gd name="T15" fmla="*/ 47 h 1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56" h="173">
                    <a:moveTo>
                      <a:pt x="203" y="47"/>
                    </a:moveTo>
                    <a:cubicBezTo>
                      <a:pt x="92" y="11"/>
                      <a:pt x="92" y="11"/>
                      <a:pt x="92" y="11"/>
                    </a:cubicBezTo>
                    <a:cubicBezTo>
                      <a:pt x="59" y="0"/>
                      <a:pt x="22" y="18"/>
                      <a:pt x="11" y="52"/>
                    </a:cubicBezTo>
                    <a:cubicBezTo>
                      <a:pt x="0" y="86"/>
                      <a:pt x="19" y="122"/>
                      <a:pt x="53" y="133"/>
                    </a:cubicBezTo>
                    <a:cubicBezTo>
                      <a:pt x="163" y="170"/>
                      <a:pt x="163" y="170"/>
                      <a:pt x="163" y="170"/>
                    </a:cubicBezTo>
                    <a:cubicBezTo>
                      <a:pt x="170" y="172"/>
                      <a:pt x="177" y="173"/>
                      <a:pt x="183" y="173"/>
                    </a:cubicBezTo>
                    <a:cubicBezTo>
                      <a:pt x="211" y="173"/>
                      <a:pt x="236" y="155"/>
                      <a:pt x="245" y="128"/>
                    </a:cubicBezTo>
                    <a:cubicBezTo>
                      <a:pt x="256" y="94"/>
                      <a:pt x="237" y="58"/>
                      <a:pt x="203" y="47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FFFFFF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73579350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YPE" val="ZenIcon2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YPE" val="ZenIcon3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YPE" val="ZenIcon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YPE" val="ZenIcon4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YPE" val="ZenIcon1"/>
</p:tagLst>
</file>

<file path=ppt/theme/theme1.xml><?xml version="1.0" encoding="utf-8"?>
<a:theme xmlns:a="http://schemas.openxmlformats.org/drawingml/2006/main" name="Office Theme">
  <a:themeElements>
    <a:clrScheme name="Custom 12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7E0080"/>
      </a:accent1>
      <a:accent2>
        <a:srgbClr val="9B51B4"/>
      </a:accent2>
      <a:accent3>
        <a:srgbClr val="DF6FA0"/>
      </a:accent3>
      <a:accent4>
        <a:srgbClr val="EF224B"/>
      </a:accent4>
      <a:accent5>
        <a:srgbClr val="C20232"/>
      </a:accent5>
      <a:accent6>
        <a:srgbClr val="7F7F7F"/>
      </a:accent6>
      <a:hlink>
        <a:srgbClr val="0563C1"/>
      </a:hlink>
      <a:folHlink>
        <a:srgbClr val="954F72"/>
      </a:folHlink>
    </a:clrScheme>
    <a:fontScheme name="Custom 7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586</TotalTime>
  <Words>100</Words>
  <Application>Microsoft Office PowerPoint</Application>
  <PresentationFormat>Widescreen</PresentationFormat>
  <Paragraphs>8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0" baseType="lpstr">
      <vt:lpstr>Arial</vt:lpstr>
      <vt:lpstr>Calibri</vt:lpstr>
      <vt:lpstr>Courier New</vt:lpstr>
      <vt:lpstr>Crimson Pro</vt:lpstr>
      <vt:lpstr>Lato Light</vt:lpstr>
      <vt:lpstr>Open Sans ExtraBold</vt:lpstr>
      <vt:lpstr>Wingdings</vt:lpstr>
      <vt:lpstr>Office Theme</vt:lpstr>
      <vt:lpstr>think-cell Slide</vt:lpstr>
      <vt:lpstr>5 Factors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Analyst Academy LLC</dc:creator>
  <cp:keywords/>
  <dc:description/>
  <cp:lastModifiedBy>Diam Cabatay</cp:lastModifiedBy>
  <cp:revision>468</cp:revision>
  <dcterms:created xsi:type="dcterms:W3CDTF">2021-03-31T02:49:57Z</dcterms:created>
  <dcterms:modified xsi:type="dcterms:W3CDTF">2025-10-15T08:29:52Z</dcterms:modified>
  <cp:category/>
</cp:coreProperties>
</file>